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3.xml" ContentType="application/vnd.openxmlformats-officedocument.presentationml.tags+xml"/>
  <Override PartName="/ppt/notesSlides/notesSlide4.xml" ContentType="application/vnd.openxmlformats-officedocument.presentationml.notesSlide+xml"/>
  <Override PartName="/ppt/tags/tag4.xml" ContentType="application/vnd.openxmlformats-officedocument.presentationml.tags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2"/>
  </p:notesMasterIdLst>
  <p:sldIdLst>
    <p:sldId id="256" r:id="rId2"/>
    <p:sldId id="259" r:id="rId3"/>
    <p:sldId id="257" r:id="rId4"/>
    <p:sldId id="258" r:id="rId5"/>
    <p:sldId id="261" r:id="rId6"/>
    <p:sldId id="264" r:id="rId7"/>
    <p:sldId id="263" r:id="rId8"/>
    <p:sldId id="265" r:id="rId9"/>
    <p:sldId id="262" r:id="rId10"/>
    <p:sldId id="260" r:id="rId1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D966"/>
    <a:srgbClr val="27C18F"/>
    <a:srgbClr val="FFFFB3"/>
    <a:srgbClr val="FFFF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04" d="100"/>
          <a:sy n="104" d="100"/>
        </p:scale>
        <p:origin x="110" y="235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0.99931264265528896"/>
          <c:h val="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6597FB"/>
              </a:solidFill>
              <a:ln w="19050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4A49-4CDC-976A-496DD28B2684}"/>
              </c:ext>
            </c:extLst>
          </c:dPt>
          <c:dPt>
            <c:idx val="1"/>
            <c:bubble3D val="0"/>
            <c:spPr>
              <a:solidFill>
                <a:srgbClr val="4E76B7"/>
              </a:solidFill>
              <a:ln w="19050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4A49-4CDC-976A-496DD28B2684}"/>
              </c:ext>
            </c:extLst>
          </c:dPt>
          <c:dPt>
            <c:idx val="2"/>
            <c:bubble3D val="0"/>
            <c:spPr>
              <a:solidFill>
                <a:srgbClr val="263238"/>
              </a:solidFill>
              <a:ln w="19050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4-4A49-4CDC-976A-496DD28B2684}"/>
              </c:ext>
            </c:extLst>
          </c:dPt>
          <c:dPt>
            <c:idx val="3"/>
            <c:bubble3D val="0"/>
            <c:spPr>
              <a:solidFill>
                <a:srgbClr val="27C18F"/>
              </a:solidFill>
              <a:ln w="19050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4A49-4CDC-976A-496DD28B2684}"/>
              </c:ext>
            </c:extLst>
          </c:dPt>
          <c:cat>
            <c:strRef>
              <c:f>Sheet1!$A$2:$A$5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8.1999999999999993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4A49-4CDC-976A-496DD28B268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5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44AE75B-BA7F-46C8-B0BC-0FAB262A4D9F}" type="datetimeFigureOut">
              <a:rPr lang="en-US" smtClean="0"/>
              <a:t>9/30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CC62271-6724-4FAF-B8F8-9F447084EE6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24617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freepik.com/free-vector/landing-page-brainstorming-concept_5568505.htm#page=1&amp;query=brainstorming&amp;position=39" TargetMode="External"/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freepik.com/free-vector/design-community-concept-illustration_6610841.htm" TargetMode="External"/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freepik.com/free-vector/scrum-board-concept-illustration_7230633.htm#page=3&amp;position=32" TargetMode="External"/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freepik.com/free-vector/team-concept-illustration_6170343.htm" TargetMode="External"/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freepik.com/free-vector/team-concept-illustration_6170343.htm" TargetMode="External"/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D" dirty="0">
                <a:hlinkClick r:id="rId3"/>
              </a:rPr>
              <a:t>https://www.freepik.com/free-vector/landing-page-brainstorming-concept_5568505.htm#page=1&amp;query=brainstorming&amp;position=39</a:t>
            </a:r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FB5766-4E77-4497-9934-9A4F27062C5C}" type="slidenum">
              <a:rPr lang="en-ID" smtClean="0"/>
              <a:t>1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73859941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D" dirty="0">
                <a:hlinkClick r:id="rId3"/>
              </a:rPr>
              <a:t>https://www.freepik.com/free-vector/design-community-concept-illustration_6610841.htm</a:t>
            </a:r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FB5766-4E77-4497-9934-9A4F27062C5C}" type="slidenum">
              <a:rPr lang="en-ID" smtClean="0"/>
              <a:t>3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03579888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D" dirty="0">
                <a:hlinkClick r:id="rId3"/>
              </a:rPr>
              <a:t>https://www.freepik.com/free-vector/scrum-board-concept-illustration_7230633.htm#page=3&amp;position=32</a:t>
            </a:r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FB5766-4E77-4497-9934-9A4F27062C5C}" type="slidenum">
              <a:rPr lang="en-ID" smtClean="0"/>
              <a:t>4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72905881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D" dirty="0">
                <a:hlinkClick r:id="rId3"/>
              </a:rPr>
              <a:t>https://www.freepik.com/free-vector/team-concept-illustration_6170343.htm</a:t>
            </a:r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FB5766-4E77-4497-9934-9A4F27062C5C}" type="slidenum">
              <a:rPr lang="en-ID" smtClean="0"/>
              <a:t>5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83361411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D" dirty="0">
                <a:hlinkClick r:id="rId3"/>
              </a:rPr>
              <a:t>https://www.freepik.com/free-vector/team-concept-illustration_6170343.htm</a:t>
            </a:r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FB5766-4E77-4497-9934-9A4F27062C5C}" type="slidenum">
              <a:rPr lang="en-ID" smtClean="0"/>
              <a:t>7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97511342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FB5766-4E77-4497-9934-9A4F27062C5C}" type="slidenum">
              <a:rPr lang="en-ID" smtClean="0"/>
              <a:t>9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65241786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C62271-6724-4FAF-B8F8-9F447084EE60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08316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82DEAF-35CE-43D7-A849-8CC13102B6E4}" type="datetimeFigureOut">
              <a:rPr lang="en-US" smtClean="0"/>
              <a:t>9/30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CD4994-501A-4947-A888-EBACA8977FD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983396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82DEAF-35CE-43D7-A849-8CC13102B6E4}" type="datetimeFigureOut">
              <a:rPr lang="en-US" smtClean="0"/>
              <a:t>9/30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CD4994-501A-4947-A888-EBACA8977FD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907951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82DEAF-35CE-43D7-A849-8CC13102B6E4}" type="datetimeFigureOut">
              <a:rPr lang="en-US" smtClean="0"/>
              <a:t>9/30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CD4994-501A-4947-A888-EBACA8977FD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79749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82DEAF-35CE-43D7-A849-8CC13102B6E4}" type="datetimeFigureOut">
              <a:rPr lang="en-US" smtClean="0"/>
              <a:t>9/30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CD4994-501A-4947-A888-EBACA8977FD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31973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82DEAF-35CE-43D7-A849-8CC13102B6E4}" type="datetimeFigureOut">
              <a:rPr lang="en-US" smtClean="0"/>
              <a:t>9/30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CD4994-501A-4947-A888-EBACA8977FD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273772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82DEAF-35CE-43D7-A849-8CC13102B6E4}" type="datetimeFigureOut">
              <a:rPr lang="en-US" smtClean="0"/>
              <a:t>9/30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CD4994-501A-4947-A888-EBACA8977FD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534736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82DEAF-35CE-43D7-A849-8CC13102B6E4}" type="datetimeFigureOut">
              <a:rPr lang="en-US" smtClean="0"/>
              <a:t>9/30/20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CD4994-501A-4947-A888-EBACA8977FD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43751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82DEAF-35CE-43D7-A849-8CC13102B6E4}" type="datetimeFigureOut">
              <a:rPr lang="en-US" smtClean="0"/>
              <a:t>9/30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CD4994-501A-4947-A888-EBACA8977FD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072564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82DEAF-35CE-43D7-A849-8CC13102B6E4}" type="datetimeFigureOut">
              <a:rPr lang="en-US" smtClean="0"/>
              <a:t>9/30/202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CD4994-501A-4947-A888-EBACA8977FD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56789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82DEAF-35CE-43D7-A849-8CC13102B6E4}" type="datetimeFigureOut">
              <a:rPr lang="en-US" smtClean="0"/>
              <a:t>9/30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CD4994-501A-4947-A888-EBACA8977FD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32267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82DEAF-35CE-43D7-A849-8CC13102B6E4}" type="datetimeFigureOut">
              <a:rPr lang="en-US" smtClean="0"/>
              <a:t>9/30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CD4994-501A-4947-A888-EBACA8977FD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161819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C82DEAF-35CE-43D7-A849-8CC13102B6E4}" type="datetimeFigureOut">
              <a:rPr lang="en-US" smtClean="0"/>
              <a:t>9/30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0CD4994-501A-4947-A888-EBACA8977FD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15979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11" Type="http://schemas.openxmlformats.org/officeDocument/2006/relationships/image" Target="../media/image4.pn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6.sv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3.png"/><Relationship Id="rId14" Type="http://schemas.openxmlformats.org/officeDocument/2006/relationships/image" Target="../media/image9.svg"/></Relationships>
</file>

<file path=ppt/slides/_rels/slide10.xml.rels><?xml version="1.0" encoding="UTF-8" standalone="yes"?>
<Relationships xmlns="http://schemas.openxmlformats.org/package/2006/relationships"><Relationship Id="rId13" Type="http://schemas.openxmlformats.org/officeDocument/2006/relationships/image" Target="../media/image85.svg"/><Relationship Id="rId3" Type="http://schemas.openxmlformats.org/officeDocument/2006/relationships/image" Target="../media/image26.png"/><Relationship Id="rId7" Type="http://schemas.openxmlformats.org/officeDocument/2006/relationships/image" Target="../media/image22.png"/><Relationship Id="rId12" Type="http://schemas.openxmlformats.org/officeDocument/2006/relationships/image" Target="../media/image2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.svg"/><Relationship Id="rId11" Type="http://schemas.openxmlformats.org/officeDocument/2006/relationships/image" Target="../media/image81.svg"/><Relationship Id="rId5" Type="http://schemas.openxmlformats.org/officeDocument/2006/relationships/image" Target="../media/image2.png"/><Relationship Id="rId4" Type="http://schemas.openxmlformats.org/officeDocument/2006/relationships/image" Target="../media/image83.sv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sv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8.svg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sv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8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3.sv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0.emf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70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sv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8.svg"/><Relationship Id="rId4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svg"/><Relationship Id="rId13" Type="http://schemas.openxmlformats.org/officeDocument/2006/relationships/image" Target="../media/image15.png"/><Relationship Id="rId18" Type="http://schemas.openxmlformats.org/officeDocument/2006/relationships/image" Target="../media/image65.sv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2.png"/><Relationship Id="rId12" Type="http://schemas.openxmlformats.org/officeDocument/2006/relationships/image" Target="../media/image59.svg"/><Relationship Id="rId17" Type="http://schemas.openxmlformats.org/officeDocument/2006/relationships/image" Target="../media/image17.png"/><Relationship Id="rId2" Type="http://schemas.openxmlformats.org/officeDocument/2006/relationships/tags" Target="../tags/tag4.xml"/><Relationship Id="rId16" Type="http://schemas.openxmlformats.org/officeDocument/2006/relationships/image" Target="../media/image63.svg"/><Relationship Id="rId20" Type="http://schemas.openxmlformats.org/officeDocument/2006/relationships/image" Target="../media/image67.svg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11" Type="http://schemas.openxmlformats.org/officeDocument/2006/relationships/image" Target="../media/image14.png"/><Relationship Id="rId5" Type="http://schemas.openxmlformats.org/officeDocument/2006/relationships/oleObject" Target="../embeddings/oleObject4.bin"/><Relationship Id="rId15" Type="http://schemas.openxmlformats.org/officeDocument/2006/relationships/image" Target="../media/image16.png"/><Relationship Id="rId10" Type="http://schemas.openxmlformats.org/officeDocument/2006/relationships/image" Target="../media/image57.svg"/><Relationship Id="rId19" Type="http://schemas.openxmlformats.org/officeDocument/2006/relationships/image" Target="../media/image18.pn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13.png"/><Relationship Id="rId14" Type="http://schemas.openxmlformats.org/officeDocument/2006/relationships/image" Target="../media/image61.sv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emf"/><Relationship Id="rId1" Type="http://schemas.openxmlformats.org/officeDocument/2006/relationships/slideLayout" Target="../slideLayouts/slideLayout7.xml"/><Relationship Id="rId5" Type="http://schemas.openxmlformats.org/officeDocument/2006/relationships/chart" Target="../charts/chart1.xml"/><Relationship Id="rId4" Type="http://schemas.openxmlformats.org/officeDocument/2006/relationships/image" Target="../media/image73.sv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eg"/><Relationship Id="rId3" Type="http://schemas.openxmlformats.org/officeDocument/2006/relationships/image" Target="../media/image21.emf"/><Relationship Id="rId7" Type="http://schemas.openxmlformats.org/officeDocument/2006/relationships/image" Target="../media/image24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3.png"/><Relationship Id="rId5" Type="http://schemas.openxmlformats.org/officeDocument/2006/relationships/image" Target="../media/image81.svg"/><Relationship Id="rId4" Type="http://schemas.openxmlformats.org/officeDocument/2006/relationships/image" Target="../media/image2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446BDFCE-A343-4A46-AE69-096238B3427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5" imgW="381" imgH="381" progId="TCLayout.ActiveDocument.1">
                  <p:embed/>
                </p:oleObj>
              </mc:Choice>
              <mc:Fallback>
                <p:oleObj name="think-cell Slide" r:id="rId5" imgW="381" imgH="38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Freeform: Shape 20">
            <a:extLst>
              <a:ext uri="{FF2B5EF4-FFF2-40B4-BE49-F238E27FC236}">
                <a16:creationId xmlns:a16="http://schemas.microsoft.com/office/drawing/2014/main" xmlns="" id="{EC0A8CFC-0C99-4AA5-A9E0-6F45B3F85D47}"/>
              </a:ext>
            </a:extLst>
          </p:cNvPr>
          <p:cNvSpPr/>
          <p:nvPr/>
        </p:nvSpPr>
        <p:spPr>
          <a:xfrm>
            <a:off x="-1" y="-1"/>
            <a:ext cx="8667750" cy="6858000"/>
          </a:xfrm>
          <a:custGeom>
            <a:avLst/>
            <a:gdLst>
              <a:gd name="connsiteX0" fmla="*/ 0 w 8667750"/>
              <a:gd name="connsiteY0" fmla="*/ 0 h 6858000"/>
              <a:gd name="connsiteX1" fmla="*/ 1733550 w 8667750"/>
              <a:gd name="connsiteY1" fmla="*/ 0 h 6858000"/>
              <a:gd name="connsiteX2" fmla="*/ 1733550 w 8667750"/>
              <a:gd name="connsiteY2" fmla="*/ 1 h 6858000"/>
              <a:gd name="connsiteX3" fmla="*/ 2657034 w 8667750"/>
              <a:gd name="connsiteY3" fmla="*/ 1 h 6858000"/>
              <a:gd name="connsiteX4" fmla="*/ 2772465 w 8667750"/>
              <a:gd name="connsiteY4" fmla="*/ 167752 h 6858000"/>
              <a:gd name="connsiteX5" fmla="*/ 3182552 w 8667750"/>
              <a:gd name="connsiteY5" fmla="*/ 1091230 h 6858000"/>
              <a:gd name="connsiteX6" fmla="*/ 5846636 w 8667750"/>
              <a:gd name="connsiteY6" fmla="*/ 3105539 h 6858000"/>
              <a:gd name="connsiteX7" fmla="*/ 7471077 w 8667750"/>
              <a:gd name="connsiteY7" fmla="*/ 5358098 h 6858000"/>
              <a:gd name="connsiteX8" fmla="*/ 8667750 w 8667750"/>
              <a:gd name="connsiteY8" fmla="*/ 6858000 h 6858000"/>
              <a:gd name="connsiteX9" fmla="*/ 1733550 w 8667750"/>
              <a:gd name="connsiteY9" fmla="*/ 6858000 h 6858000"/>
              <a:gd name="connsiteX10" fmla="*/ 670081 w 8667750"/>
              <a:gd name="connsiteY10" fmla="*/ 6858000 h 6858000"/>
              <a:gd name="connsiteX11" fmla="*/ 0 w 8667750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8667750" h="6858000">
                <a:moveTo>
                  <a:pt x="0" y="0"/>
                </a:moveTo>
                <a:lnTo>
                  <a:pt x="1733550" y="0"/>
                </a:lnTo>
                <a:lnTo>
                  <a:pt x="1733550" y="1"/>
                </a:lnTo>
                <a:lnTo>
                  <a:pt x="2657034" y="1"/>
                </a:lnTo>
                <a:lnTo>
                  <a:pt x="2772465" y="167752"/>
                </a:lnTo>
                <a:cubicBezTo>
                  <a:pt x="2927379" y="414041"/>
                  <a:pt x="3062073" y="716255"/>
                  <a:pt x="3182552" y="1091230"/>
                </a:cubicBezTo>
                <a:cubicBezTo>
                  <a:pt x="3664470" y="2596547"/>
                  <a:pt x="4547083" y="2515325"/>
                  <a:pt x="5846636" y="3105539"/>
                </a:cubicBezTo>
                <a:cubicBezTo>
                  <a:pt x="7140774" y="3695753"/>
                  <a:pt x="7227412" y="4069374"/>
                  <a:pt x="7471077" y="5358098"/>
                </a:cubicBezTo>
                <a:cubicBezTo>
                  <a:pt x="7714744" y="6646822"/>
                  <a:pt x="8667750" y="6858000"/>
                  <a:pt x="8667750" y="6858000"/>
                </a:cubicBezTo>
                <a:lnTo>
                  <a:pt x="1733550" y="6858000"/>
                </a:lnTo>
                <a:lnTo>
                  <a:pt x="670081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4399FF"/>
          </a:solidFill>
          <a:ln w="33311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ID"/>
          </a:p>
        </p:txBody>
      </p:sp>
      <p:pic>
        <p:nvPicPr>
          <p:cNvPr id="48" name="Graphic 47">
            <a:extLst>
              <a:ext uri="{FF2B5EF4-FFF2-40B4-BE49-F238E27FC236}">
                <a16:creationId xmlns:a16="http://schemas.microsoft.com/office/drawing/2014/main" xmlns="" id="{97A50B60-3923-424D-B191-06DB0C43717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0" y="885569"/>
            <a:ext cx="6096000" cy="5972432"/>
          </a:xfrm>
          <a:prstGeom prst="rect">
            <a:avLst/>
          </a:prstGeom>
        </p:spPr>
      </p:pic>
      <p:sp>
        <p:nvSpPr>
          <p:cNvPr id="18" name="Freeform: Shape 17">
            <a:extLst>
              <a:ext uri="{FF2B5EF4-FFF2-40B4-BE49-F238E27FC236}">
                <a16:creationId xmlns:a16="http://schemas.microsoft.com/office/drawing/2014/main" xmlns="" id="{C52F73E1-9F57-4737-B103-97AFDF6470C9}"/>
              </a:ext>
            </a:extLst>
          </p:cNvPr>
          <p:cNvSpPr/>
          <p:nvPr/>
        </p:nvSpPr>
        <p:spPr>
          <a:xfrm>
            <a:off x="5873941" y="0"/>
            <a:ext cx="6324720" cy="5343525"/>
          </a:xfrm>
          <a:custGeom>
            <a:avLst/>
            <a:gdLst>
              <a:gd name="connsiteX0" fmla="*/ 7638322 w 7638321"/>
              <a:gd name="connsiteY0" fmla="*/ 6442439 h 6453339"/>
              <a:gd name="connsiteX1" fmla="*/ 5413115 w 7638321"/>
              <a:gd name="connsiteY1" fmla="*/ 4567004 h 6453339"/>
              <a:gd name="connsiteX2" fmla="*/ 3114623 w 7638321"/>
              <a:gd name="connsiteY2" fmla="*/ 1875436 h 6453339"/>
              <a:gd name="connsiteX3" fmla="*/ 0 w 7638321"/>
              <a:gd name="connsiteY3" fmla="*/ 0 h 6453339"/>
              <a:gd name="connsiteX4" fmla="*/ 7638322 w 7638321"/>
              <a:gd name="connsiteY4" fmla="*/ 0 h 6453339"/>
              <a:gd name="connsiteX5" fmla="*/ 7638322 w 7638321"/>
              <a:gd name="connsiteY5" fmla="*/ 6442439 h 64533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38321" h="6453339">
                <a:moveTo>
                  <a:pt x="7638322" y="6442439"/>
                </a:moveTo>
                <a:cubicBezTo>
                  <a:pt x="7638322" y="6442439"/>
                  <a:pt x="6259226" y="6712263"/>
                  <a:pt x="5413115" y="4567004"/>
                </a:cubicBezTo>
                <a:cubicBezTo>
                  <a:pt x="4567004" y="2421744"/>
                  <a:pt x="4413771" y="2361784"/>
                  <a:pt x="3114623" y="1875436"/>
                </a:cubicBezTo>
                <a:cubicBezTo>
                  <a:pt x="1815475" y="1389089"/>
                  <a:pt x="786151" y="1359108"/>
                  <a:pt x="0" y="0"/>
                </a:cubicBezTo>
                <a:lnTo>
                  <a:pt x="7638322" y="0"/>
                </a:lnTo>
                <a:lnTo>
                  <a:pt x="7638322" y="6442439"/>
                </a:lnTo>
                <a:close/>
              </a:path>
            </a:pathLst>
          </a:custGeom>
          <a:solidFill>
            <a:srgbClr val="D3E3FF"/>
          </a:solidFill>
          <a:ln w="33311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ID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xmlns="" id="{5C3B9C55-6279-4F6C-BBC8-B530FB1E1503}"/>
              </a:ext>
            </a:extLst>
          </p:cNvPr>
          <p:cNvSpPr/>
          <p:nvPr/>
        </p:nvSpPr>
        <p:spPr>
          <a:xfrm>
            <a:off x="9293901" y="0"/>
            <a:ext cx="2904761" cy="2508354"/>
          </a:xfrm>
          <a:custGeom>
            <a:avLst/>
            <a:gdLst>
              <a:gd name="connsiteX0" fmla="*/ 2904761 w 2904761"/>
              <a:gd name="connsiteY0" fmla="*/ 2508354 h 2508354"/>
              <a:gd name="connsiteX1" fmla="*/ 1622269 w 2904761"/>
              <a:gd name="connsiteY1" fmla="*/ 1232525 h 2508354"/>
              <a:gd name="connsiteX2" fmla="*/ 0 w 2904761"/>
              <a:gd name="connsiteY2" fmla="*/ 0 h 2508354"/>
              <a:gd name="connsiteX3" fmla="*/ 2904761 w 2904761"/>
              <a:gd name="connsiteY3" fmla="*/ 0 h 2508354"/>
              <a:gd name="connsiteX4" fmla="*/ 2904761 w 2904761"/>
              <a:gd name="connsiteY4" fmla="*/ 2508354 h 25083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04761" h="2508354">
                <a:moveTo>
                  <a:pt x="2904761" y="2508354"/>
                </a:moveTo>
                <a:cubicBezTo>
                  <a:pt x="2904761" y="2508354"/>
                  <a:pt x="2268512" y="2508354"/>
                  <a:pt x="1622269" y="1232525"/>
                </a:cubicBezTo>
                <a:cubicBezTo>
                  <a:pt x="1232525" y="469692"/>
                  <a:pt x="0" y="0"/>
                  <a:pt x="0" y="0"/>
                </a:cubicBezTo>
                <a:lnTo>
                  <a:pt x="2904761" y="0"/>
                </a:lnTo>
                <a:lnTo>
                  <a:pt x="2904761" y="2508354"/>
                </a:lnTo>
                <a:close/>
              </a:path>
            </a:pathLst>
          </a:custGeom>
          <a:solidFill>
            <a:schemeClr val="accent4">
              <a:lumMod val="60000"/>
              <a:lumOff val="40000"/>
            </a:schemeClr>
          </a:solidFill>
          <a:ln w="33311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ID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xmlns="" id="{4850BE06-A06A-4A7A-A00C-927D0AB38C48}"/>
              </a:ext>
            </a:extLst>
          </p:cNvPr>
          <p:cNvPicPr>
            <a:picLocks noChangeAspect="1"/>
          </p:cNvPicPr>
          <p:nvPr/>
        </p:nvPicPr>
        <p:blipFill>
          <a:blip r:embed="rId9">
            <a:duotone>
              <a:prstClr val="black"/>
              <a:schemeClr val="accent4">
                <a:lumMod val="60000"/>
                <a:lumOff val="40000"/>
                <a:tint val="45000"/>
                <a:satMod val="400000"/>
              </a:schemeClr>
            </a:duotone>
            <a:extLs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>
            <a:off x="0" y="6089867"/>
            <a:ext cx="663388" cy="768133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34A3AC09-E85B-415E-A29B-4318D5329DB7}"/>
              </a:ext>
            </a:extLst>
          </p:cNvPr>
          <p:cNvSpPr txBox="1"/>
          <p:nvPr/>
        </p:nvSpPr>
        <p:spPr>
          <a:xfrm>
            <a:off x="828399" y="3450711"/>
            <a:ext cx="5180003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STARTUP</a:t>
            </a:r>
            <a:endParaRPr kumimoji="0" lang="en-US" sz="40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BUDDY</a:t>
            </a:r>
            <a:endParaRPr kumimoji="0" lang="en-US" sz="40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</a:endParaRPr>
          </a:p>
        </p:txBody>
      </p:sp>
      <p:pic>
        <p:nvPicPr>
          <p:cNvPr id="24" name="Graphic 23">
            <a:extLst>
              <a:ext uri="{FF2B5EF4-FFF2-40B4-BE49-F238E27FC236}">
                <a16:creationId xmlns:a16="http://schemas.microsoft.com/office/drawing/2014/main" xmlns="" id="{7A346DF0-015B-46DC-AC64-4A49272B4E2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xmlns="" r:embed="rId14"/>
              </a:ext>
            </a:extLst>
          </a:blip>
          <a:stretch>
            <a:fillRect/>
          </a:stretch>
        </p:blipFill>
        <p:spPr>
          <a:xfrm>
            <a:off x="6392074" y="1088750"/>
            <a:ext cx="5132892" cy="4680501"/>
          </a:xfrm>
          <a:prstGeom prst="rect">
            <a:avLst/>
          </a:prstGeom>
        </p:spPr>
      </p:pic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xmlns="" id="{78B7B561-29BA-4263-A705-810870A4EF34}"/>
              </a:ext>
            </a:extLst>
          </p:cNvPr>
          <p:cNvCxnSpPr>
            <a:cxnSpLocks/>
          </p:cNvCxnSpPr>
          <p:nvPr/>
        </p:nvCxnSpPr>
        <p:spPr>
          <a:xfrm>
            <a:off x="828399" y="5711571"/>
            <a:ext cx="5180003" cy="0"/>
          </a:xfrm>
          <a:prstGeom prst="line">
            <a:avLst/>
          </a:prstGeom>
          <a:ln>
            <a:solidFill>
              <a:srgbClr val="2C5D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5534425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1" name="Group 90">
            <a:extLst>
              <a:ext uri="{FF2B5EF4-FFF2-40B4-BE49-F238E27FC236}">
                <a16:creationId xmlns:a16="http://schemas.microsoft.com/office/drawing/2014/main" xmlns="" id="{C6A0C91D-0B65-4ED0-838D-B988505F4153}"/>
              </a:ext>
            </a:extLst>
          </p:cNvPr>
          <p:cNvGrpSpPr/>
          <p:nvPr/>
        </p:nvGrpSpPr>
        <p:grpSpPr>
          <a:xfrm>
            <a:off x="-1" y="3429000"/>
            <a:ext cx="2806699" cy="3429000"/>
            <a:chOff x="-1" y="3428998"/>
            <a:chExt cx="2806701" cy="3429002"/>
          </a:xfrm>
          <a:solidFill>
            <a:srgbClr val="FFD966"/>
          </a:solidFill>
        </p:grpSpPr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xmlns="" id="{08DDE8E9-E20E-465C-84A9-C1F5C7A0BBC4}"/>
                </a:ext>
              </a:extLst>
            </p:cNvPr>
            <p:cNvSpPr/>
            <p:nvPr/>
          </p:nvSpPr>
          <p:spPr>
            <a:xfrm rot="10800000">
              <a:off x="0" y="3428998"/>
              <a:ext cx="2806700" cy="3428999"/>
            </a:xfrm>
            <a:custGeom>
              <a:avLst/>
              <a:gdLst>
                <a:gd name="connsiteX0" fmla="*/ 7638322 w 7638321"/>
                <a:gd name="connsiteY0" fmla="*/ 6442439 h 6453339"/>
                <a:gd name="connsiteX1" fmla="*/ 5413115 w 7638321"/>
                <a:gd name="connsiteY1" fmla="*/ 4567004 h 6453339"/>
                <a:gd name="connsiteX2" fmla="*/ 3114623 w 7638321"/>
                <a:gd name="connsiteY2" fmla="*/ 1875436 h 6453339"/>
                <a:gd name="connsiteX3" fmla="*/ 0 w 7638321"/>
                <a:gd name="connsiteY3" fmla="*/ 0 h 6453339"/>
                <a:gd name="connsiteX4" fmla="*/ 7638322 w 7638321"/>
                <a:gd name="connsiteY4" fmla="*/ 0 h 6453339"/>
                <a:gd name="connsiteX5" fmla="*/ 7638322 w 7638321"/>
                <a:gd name="connsiteY5" fmla="*/ 6442439 h 6453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638321" h="6453339">
                  <a:moveTo>
                    <a:pt x="7638322" y="6442439"/>
                  </a:moveTo>
                  <a:cubicBezTo>
                    <a:pt x="7638322" y="6442439"/>
                    <a:pt x="6259226" y="6712263"/>
                    <a:pt x="5413115" y="4567004"/>
                  </a:cubicBezTo>
                  <a:cubicBezTo>
                    <a:pt x="4567004" y="2421744"/>
                    <a:pt x="4413771" y="2361784"/>
                    <a:pt x="3114623" y="1875436"/>
                  </a:cubicBezTo>
                  <a:cubicBezTo>
                    <a:pt x="1815475" y="1389089"/>
                    <a:pt x="786151" y="1359108"/>
                    <a:pt x="0" y="0"/>
                  </a:cubicBezTo>
                  <a:lnTo>
                    <a:pt x="7638322" y="0"/>
                  </a:lnTo>
                  <a:lnTo>
                    <a:pt x="7638322" y="6442439"/>
                  </a:lnTo>
                  <a:close/>
                </a:path>
              </a:pathLst>
            </a:custGeom>
            <a:grpFill/>
            <a:ln w="28107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ID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xmlns="" id="{487A24B0-E7B8-4505-8F42-E991532BAB0A}"/>
                </a:ext>
              </a:extLst>
            </p:cNvPr>
            <p:cNvSpPr/>
            <p:nvPr/>
          </p:nvSpPr>
          <p:spPr>
            <a:xfrm>
              <a:off x="-1" y="5150234"/>
              <a:ext cx="1320801" cy="1707766"/>
            </a:xfrm>
            <a:custGeom>
              <a:avLst/>
              <a:gdLst>
                <a:gd name="connsiteX0" fmla="*/ 0 w 2445467"/>
                <a:gd name="connsiteY0" fmla="*/ 0 h 2737444"/>
                <a:gd name="connsiteX1" fmla="*/ 64083 w 2445467"/>
                <a:gd name="connsiteY1" fmla="*/ 53704 h 2737444"/>
                <a:gd name="connsiteX2" fmla="*/ 435430 w 2445467"/>
                <a:gd name="connsiteY2" fmla="*/ 465958 h 2737444"/>
                <a:gd name="connsiteX3" fmla="*/ 508001 w 2445467"/>
                <a:gd name="connsiteY3" fmla="*/ 1525501 h 2737444"/>
                <a:gd name="connsiteX4" fmla="*/ 1553030 w 2445467"/>
                <a:gd name="connsiteY4" fmla="*/ 2106073 h 2737444"/>
                <a:gd name="connsiteX5" fmla="*/ 2327730 w 2445467"/>
                <a:gd name="connsiteY5" fmla="*/ 2650359 h 2737444"/>
                <a:gd name="connsiteX6" fmla="*/ 2445467 w 2445467"/>
                <a:gd name="connsiteY6" fmla="*/ 2737444 h 2737444"/>
                <a:gd name="connsiteX7" fmla="*/ 0 w 2445467"/>
                <a:gd name="connsiteY7" fmla="*/ 2737444 h 27374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45467" h="2737444">
                  <a:moveTo>
                    <a:pt x="0" y="0"/>
                  </a:moveTo>
                  <a:lnTo>
                    <a:pt x="64083" y="53704"/>
                  </a:lnTo>
                  <a:cubicBezTo>
                    <a:pt x="222478" y="195970"/>
                    <a:pt x="361952" y="349844"/>
                    <a:pt x="435430" y="465958"/>
                  </a:cubicBezTo>
                  <a:cubicBezTo>
                    <a:pt x="631373" y="775596"/>
                    <a:pt x="321734" y="1252149"/>
                    <a:pt x="508001" y="1525501"/>
                  </a:cubicBezTo>
                  <a:cubicBezTo>
                    <a:pt x="694268" y="1798854"/>
                    <a:pt x="1134535" y="1830302"/>
                    <a:pt x="1553030" y="2106073"/>
                  </a:cubicBezTo>
                  <a:cubicBezTo>
                    <a:pt x="1762278" y="2243959"/>
                    <a:pt x="2051958" y="2448369"/>
                    <a:pt x="2327730" y="2650359"/>
                  </a:cubicBezTo>
                  <a:lnTo>
                    <a:pt x="2445467" y="2737444"/>
                  </a:lnTo>
                  <a:lnTo>
                    <a:pt x="0" y="2737444"/>
                  </a:lnTo>
                  <a:close/>
                </a:path>
              </a:pathLst>
            </a:custGeom>
            <a:grpFill/>
            <a:ln w="44951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</p:grpSp>
      <p:pic>
        <p:nvPicPr>
          <p:cNvPr id="44" name="Graphic 43">
            <a:extLst>
              <a:ext uri="{FF2B5EF4-FFF2-40B4-BE49-F238E27FC236}">
                <a16:creationId xmlns:a16="http://schemas.microsoft.com/office/drawing/2014/main" xmlns="" id="{BC2CB732-CBB1-497D-A7A7-74DFABFF5E2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711199" y="950121"/>
            <a:ext cx="3306356" cy="1805779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5368F50A-7821-4E81-B6E7-73F2307A2D8C}"/>
              </a:ext>
            </a:extLst>
          </p:cNvPr>
          <p:cNvSpPr txBox="1"/>
          <p:nvPr/>
        </p:nvSpPr>
        <p:spPr>
          <a:xfrm>
            <a:off x="1638300" y="541866"/>
            <a:ext cx="8915400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THANK YOU</a:t>
            </a: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xmlns="" id="{73F407F3-E6BB-42F7-913A-87F9E0D56935}"/>
              </a:ext>
            </a:extLst>
          </p:cNvPr>
          <p:cNvGrpSpPr/>
          <p:nvPr/>
        </p:nvGrpSpPr>
        <p:grpSpPr>
          <a:xfrm>
            <a:off x="2387600" y="0"/>
            <a:ext cx="9804400" cy="6999890"/>
            <a:chOff x="1638300" y="0"/>
            <a:chExt cx="10553700" cy="6999890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xmlns="" id="{CE586501-B2B0-43A9-B91F-88615C4BB273}"/>
                </a:ext>
              </a:extLst>
            </p:cNvPr>
            <p:cNvSpPr txBox="1"/>
            <p:nvPr/>
          </p:nvSpPr>
          <p:spPr>
            <a:xfrm>
              <a:off x="1638300" y="0"/>
              <a:ext cx="10553700" cy="6858000"/>
            </a:xfrm>
            <a:custGeom>
              <a:avLst/>
              <a:gdLst>
                <a:gd name="connsiteX0" fmla="*/ 0 w 10553700"/>
                <a:gd name="connsiteY0" fmla="*/ 0 h 6858000"/>
                <a:gd name="connsiteX1" fmla="*/ 8172450 w 10553700"/>
                <a:gd name="connsiteY1" fmla="*/ 0 h 6858000"/>
                <a:gd name="connsiteX2" fmla="*/ 8553450 w 10553700"/>
                <a:gd name="connsiteY2" fmla="*/ 0 h 6858000"/>
                <a:gd name="connsiteX3" fmla="*/ 10553700 w 10553700"/>
                <a:gd name="connsiteY3" fmla="*/ 0 h 6858000"/>
                <a:gd name="connsiteX4" fmla="*/ 10553700 w 10553700"/>
                <a:gd name="connsiteY4" fmla="*/ 6858000 h 6858000"/>
                <a:gd name="connsiteX5" fmla="*/ 8553450 w 10553700"/>
                <a:gd name="connsiteY5" fmla="*/ 6858000 h 6858000"/>
                <a:gd name="connsiteX6" fmla="*/ 8172450 w 10553700"/>
                <a:gd name="connsiteY6" fmla="*/ 6858000 h 6858000"/>
                <a:gd name="connsiteX7" fmla="*/ 4845011 w 10553700"/>
                <a:gd name="connsiteY7" fmla="*/ 6858000 h 6858000"/>
                <a:gd name="connsiteX8" fmla="*/ 4698864 w 10553700"/>
                <a:gd name="connsiteY8" fmla="*/ 6692007 h 6858000"/>
                <a:gd name="connsiteX9" fmla="*/ 4192944 w 10553700"/>
                <a:gd name="connsiteY9" fmla="*/ 5930900 h 6858000"/>
                <a:gd name="connsiteX10" fmla="*/ 3676568 w 10553700"/>
                <a:gd name="connsiteY10" fmla="*/ 3505200 h 6858000"/>
                <a:gd name="connsiteX11" fmla="*/ 796339 w 10553700"/>
                <a:gd name="connsiteY11" fmla="*/ 1828800 h 6858000"/>
                <a:gd name="connsiteX12" fmla="*/ 16038 w 10553700"/>
                <a:gd name="connsiteY12" fmla="*/ 381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553700" h="6858000">
                  <a:moveTo>
                    <a:pt x="0" y="0"/>
                  </a:moveTo>
                  <a:lnTo>
                    <a:pt x="8172450" y="0"/>
                  </a:lnTo>
                  <a:lnTo>
                    <a:pt x="8553450" y="0"/>
                  </a:lnTo>
                  <a:lnTo>
                    <a:pt x="10553700" y="0"/>
                  </a:lnTo>
                  <a:lnTo>
                    <a:pt x="10553700" y="6858000"/>
                  </a:lnTo>
                  <a:lnTo>
                    <a:pt x="8553450" y="6858000"/>
                  </a:lnTo>
                  <a:lnTo>
                    <a:pt x="8172450" y="6858000"/>
                  </a:lnTo>
                  <a:lnTo>
                    <a:pt x="4845011" y="6858000"/>
                  </a:lnTo>
                  <a:lnTo>
                    <a:pt x="4698864" y="6692007"/>
                  </a:lnTo>
                  <a:cubicBezTo>
                    <a:pt x="4501514" y="6449913"/>
                    <a:pt x="4331361" y="6187281"/>
                    <a:pt x="4192944" y="5930900"/>
                  </a:cubicBezTo>
                  <a:cubicBezTo>
                    <a:pt x="3823830" y="5247217"/>
                    <a:pt x="4242668" y="4188883"/>
                    <a:pt x="3676568" y="3505200"/>
                  </a:cubicBezTo>
                  <a:cubicBezTo>
                    <a:pt x="3110467" y="2821517"/>
                    <a:pt x="1406428" y="2406650"/>
                    <a:pt x="796339" y="1828800"/>
                  </a:cubicBezTo>
                  <a:cubicBezTo>
                    <a:pt x="186250" y="1250950"/>
                    <a:pt x="157563" y="372533"/>
                    <a:pt x="16038" y="38100"/>
                  </a:cubicBezTo>
                  <a:close/>
                </a:path>
              </a:pathLst>
            </a:custGeom>
            <a:solidFill>
              <a:srgbClr val="4399FF"/>
            </a:solidFill>
            <a:ln w="33311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>
                <a:defRPr>
                  <a:solidFill>
                    <a:schemeClr val="tx1"/>
                  </a:solidFill>
                </a:defRPr>
              </a:lvl1pPr>
              <a:lvl2pPr>
                <a:defRPr>
                  <a:solidFill>
                    <a:schemeClr val="tx1"/>
                  </a:solidFill>
                </a:defRPr>
              </a:lvl2pPr>
              <a:lvl3pPr>
                <a:defRPr>
                  <a:solidFill>
                    <a:schemeClr val="tx1"/>
                  </a:solidFill>
                </a:defRPr>
              </a:lvl3pPr>
              <a:lvl4pPr>
                <a:defRPr>
                  <a:solidFill>
                    <a:schemeClr val="tx1"/>
                  </a:solidFill>
                </a:defRPr>
              </a:lvl4pPr>
              <a:lvl5pPr>
                <a:defRPr>
                  <a:solidFill>
                    <a:schemeClr val="tx1"/>
                  </a:solidFill>
                </a:defRPr>
              </a:lvl5pPr>
              <a:lvl6pPr>
                <a:defRPr>
                  <a:solidFill>
                    <a:schemeClr val="tx1"/>
                  </a:solidFill>
                </a:defRPr>
              </a:lvl6pPr>
              <a:lvl7pPr>
                <a:defRPr>
                  <a:solidFill>
                    <a:schemeClr val="tx1"/>
                  </a:solidFill>
                </a:defRPr>
              </a:lvl7pPr>
              <a:lvl8pPr>
                <a:defRPr>
                  <a:solidFill>
                    <a:schemeClr val="tx1"/>
                  </a:solidFill>
                </a:defRPr>
              </a:lvl8pPr>
              <a:lvl9pPr>
                <a:defRPr>
                  <a:solidFill>
                    <a:schemeClr val="tx1"/>
                  </a:solidFill>
                </a:defRPr>
              </a:lvl9pPr>
            </a:lstStyle>
            <a:p>
              <a:pPr lvl="1"/>
              <a:endParaRPr lang="en-US">
                <a:sym typeface="Calibri" panose="020F0502020204030204" pitchFamily="34" charset="0"/>
              </a:endParaRPr>
            </a:p>
          </p:txBody>
        </p:sp>
        <p:pic>
          <p:nvPicPr>
            <p:cNvPr id="15" name="Graphic 14">
              <a:extLst>
                <a:ext uri="{FF2B5EF4-FFF2-40B4-BE49-F238E27FC236}">
                  <a16:creationId xmlns:a16="http://schemas.microsoft.com/office/drawing/2014/main" xmlns="" id="{5EE0951A-0E0F-459B-918F-40C23FCC410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 rot="5400000" flipV="1">
              <a:off x="4197935" y="70945"/>
              <a:ext cx="6999890" cy="6858000"/>
            </a:xfrm>
            <a:prstGeom prst="rect">
              <a:avLst/>
            </a:prstGeom>
          </p:spPr>
        </p:pic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xmlns="" id="{15D8BCA2-D47C-4556-BD4D-4B509FB2B695}"/>
                </a:ext>
              </a:extLst>
            </p:cNvPr>
            <p:cNvSpPr txBox="1"/>
            <p:nvPr/>
          </p:nvSpPr>
          <p:spPr>
            <a:xfrm>
              <a:off x="11126879" y="0"/>
              <a:ext cx="1065121" cy="6858000"/>
            </a:xfrm>
            <a:prstGeom prst="rect">
              <a:avLst/>
            </a:prstGeom>
            <a:solidFill>
              <a:srgbClr val="276ED8">
                <a:alpha val="20000"/>
              </a:srgbClr>
            </a:solidFill>
            <a:ln w="23622" cap="flat">
              <a:noFill/>
              <a:prstDash val="solid"/>
              <a:miter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  <a:defRPr>
                  <a:latin typeface="Calibri" panose="020F0502020204030204" pitchFamily="34" charset="0"/>
                </a:defRPr>
              </a:lvl1pPr>
              <a:lvl2pPr marL="228600" lvl="1" indent="-228600" algn="ctr">
                <a:lnSpc>
                  <a:spcPct val="90000"/>
                </a:lnSpc>
                <a:spcBef>
                  <a:spcPts val="10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2pPr>
              <a:lvl3pPr marL="685800" lvl="2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3pPr>
              <a:lvl4pPr marL="1143000" lvl="3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4pPr>
              <a:lvl5pPr marL="1600200" lvl="4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lvl="1" indent="0">
                <a:buNone/>
              </a:pPr>
              <a:endParaRPr lang="en-US">
                <a:sym typeface="Calibri" panose="020F0502020204030204" pitchFamily="34" charset="0"/>
              </a:endParaRPr>
            </a:p>
          </p:txBody>
        </p:sp>
      </p:grpSp>
      <p:grpSp>
        <p:nvGrpSpPr>
          <p:cNvPr id="100" name="Group 99">
            <a:extLst>
              <a:ext uri="{FF2B5EF4-FFF2-40B4-BE49-F238E27FC236}">
                <a16:creationId xmlns:a16="http://schemas.microsoft.com/office/drawing/2014/main" xmlns="" id="{41B5DFA6-FD71-4390-AB90-61959D5F9C9F}"/>
              </a:ext>
            </a:extLst>
          </p:cNvPr>
          <p:cNvGrpSpPr/>
          <p:nvPr/>
        </p:nvGrpSpPr>
        <p:grpSpPr>
          <a:xfrm>
            <a:off x="7186594" y="2161050"/>
            <a:ext cx="3905391" cy="3096750"/>
            <a:chOff x="7316713" y="2161050"/>
            <a:chExt cx="3905391" cy="3096750"/>
          </a:xfrm>
        </p:grpSpPr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xmlns="" id="{4B9BDD49-BE70-44F5-A699-44F0C53DE8E6}"/>
                </a:ext>
              </a:extLst>
            </p:cNvPr>
            <p:cNvSpPr txBox="1"/>
            <p:nvPr/>
          </p:nvSpPr>
          <p:spPr>
            <a:xfrm>
              <a:off x="7316713" y="2161050"/>
              <a:ext cx="3905391" cy="184665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o-RO" sz="4000" dirty="0" smtClean="0">
                  <a:solidFill>
                    <a:schemeClr val="bg1"/>
                  </a:solidFill>
                  <a:latin typeface="Arial Black" panose="020B0A04020102020204" pitchFamily="34" charset="0"/>
                </a:rPr>
                <a:t>MULȚUMIM PENTRU ATENȚIE</a:t>
              </a:r>
              <a:endParaRPr kumimoji="0" lang="en-US" sz="40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endParaRPr>
            </a:p>
          </p:txBody>
        </p: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xmlns="" id="{38A90A60-9AFB-447C-A243-2B067AF720BE}"/>
                </a:ext>
              </a:extLst>
            </p:cNvPr>
            <p:cNvCxnSpPr>
              <a:cxnSpLocks/>
            </p:cNvCxnSpPr>
            <p:nvPr/>
          </p:nvCxnSpPr>
          <p:spPr>
            <a:xfrm>
              <a:off x="11010900" y="4236516"/>
              <a:ext cx="0" cy="1021284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xmlns="" id="{2AD85B42-BAF7-47D6-A7B8-288C92130758}"/>
              </a:ext>
            </a:extLst>
          </p:cNvPr>
          <p:cNvGrpSpPr/>
          <p:nvPr/>
        </p:nvGrpSpPr>
        <p:grpSpPr>
          <a:xfrm>
            <a:off x="931051" y="1355811"/>
            <a:ext cx="5026711" cy="4359357"/>
            <a:chOff x="-171080" y="1137843"/>
            <a:chExt cx="5529382" cy="4795293"/>
          </a:xfrm>
        </p:grpSpPr>
        <p:pic>
          <p:nvPicPr>
            <p:cNvPr id="90" name="Graphic 89">
              <a:extLst>
                <a:ext uri="{FF2B5EF4-FFF2-40B4-BE49-F238E27FC236}">
                  <a16:creationId xmlns:a16="http://schemas.microsoft.com/office/drawing/2014/main" xmlns="" id="{9AA50FDB-8162-44E9-9EC3-DEF730927A9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>
              <a:extLst>
                <a:ext uri="{96DAC541-7B7A-43D3-8B79-37D633B846F1}">
                  <asvg:svgBlip xmlns:asvg="http://schemas.microsoft.com/office/drawing/2016/SVG/main" xmlns="" r:embed="rId11"/>
                </a:ext>
              </a:extLst>
            </a:blip>
            <a:srcRect l="59" t="-1" r="-1" b="-69"/>
            <a:stretch/>
          </p:blipFill>
          <p:spPr>
            <a:xfrm flipH="1">
              <a:off x="-171080" y="1294492"/>
              <a:ext cx="2573878" cy="3935556"/>
            </a:xfrm>
            <a:prstGeom prst="rect">
              <a:avLst/>
            </a:prstGeom>
          </p:spPr>
        </p:pic>
        <p:pic>
          <p:nvPicPr>
            <p:cNvPr id="4" name="Graphic 3">
              <a:extLst>
                <a:ext uri="{FF2B5EF4-FFF2-40B4-BE49-F238E27FC236}">
                  <a16:creationId xmlns:a16="http://schemas.microsoft.com/office/drawing/2014/main" xmlns="" id="{18295180-59A8-4324-A569-96A80674EC7E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xmlns="" r:embed="rId13"/>
                </a:ext>
              </a:extLst>
            </a:blip>
            <a:stretch>
              <a:fillRect/>
            </a:stretch>
          </p:blipFill>
          <p:spPr>
            <a:xfrm>
              <a:off x="989500" y="1137843"/>
              <a:ext cx="4368802" cy="4582314"/>
            </a:xfrm>
            <a:prstGeom prst="rect">
              <a:avLst/>
            </a:prstGeom>
          </p:spPr>
        </p:pic>
        <p:grpSp>
          <p:nvGrpSpPr>
            <p:cNvPr id="46" name="Graphic 44">
              <a:extLst>
                <a:ext uri="{FF2B5EF4-FFF2-40B4-BE49-F238E27FC236}">
                  <a16:creationId xmlns:a16="http://schemas.microsoft.com/office/drawing/2014/main" xmlns="" id="{CD6ADF9F-6229-46FC-AD17-6F05C0ECE6AB}"/>
                </a:ext>
              </a:extLst>
            </p:cNvPr>
            <p:cNvGrpSpPr/>
            <p:nvPr/>
          </p:nvGrpSpPr>
          <p:grpSpPr>
            <a:xfrm>
              <a:off x="4268818" y="4378570"/>
              <a:ext cx="1028012" cy="1554566"/>
              <a:chOff x="4919095" y="4378685"/>
              <a:chExt cx="1125189" cy="1701518"/>
            </a:xfrm>
          </p:grpSpPr>
          <p:grpSp>
            <p:nvGrpSpPr>
              <p:cNvPr id="47" name="Graphic 44">
                <a:extLst>
                  <a:ext uri="{FF2B5EF4-FFF2-40B4-BE49-F238E27FC236}">
                    <a16:creationId xmlns:a16="http://schemas.microsoft.com/office/drawing/2014/main" xmlns="" id="{CD6ADF9F-6229-46FC-AD17-6F05C0ECE6AB}"/>
                  </a:ext>
                </a:extLst>
              </p:cNvPr>
              <p:cNvGrpSpPr/>
              <p:nvPr/>
            </p:nvGrpSpPr>
            <p:grpSpPr>
              <a:xfrm>
                <a:off x="4919095" y="4378685"/>
                <a:ext cx="1125189" cy="1139612"/>
                <a:chOff x="4919095" y="4378685"/>
                <a:chExt cx="1125189" cy="1139612"/>
              </a:xfrm>
            </p:grpSpPr>
            <p:sp>
              <p:nvSpPr>
                <p:cNvPr id="48" name="Freeform: Shape 47">
                  <a:extLst>
                    <a:ext uri="{FF2B5EF4-FFF2-40B4-BE49-F238E27FC236}">
                      <a16:creationId xmlns:a16="http://schemas.microsoft.com/office/drawing/2014/main" xmlns="" id="{361978BD-562D-4DE8-9DE1-C7533AFB37EF}"/>
                    </a:ext>
                  </a:extLst>
                </p:cNvPr>
                <p:cNvSpPr/>
                <p:nvPr/>
              </p:nvSpPr>
              <p:spPr>
                <a:xfrm>
                  <a:off x="4990223" y="4441292"/>
                  <a:ext cx="1011653" cy="1059545"/>
                </a:xfrm>
                <a:custGeom>
                  <a:avLst/>
                  <a:gdLst>
                    <a:gd name="connsiteX0" fmla="*/ 260222 w 1011653"/>
                    <a:gd name="connsiteY0" fmla="*/ 1059546 h 1059545"/>
                    <a:gd name="connsiteX1" fmla="*/ 412 w 1011653"/>
                    <a:gd name="connsiteY1" fmla="*/ 559069 h 1059545"/>
                    <a:gd name="connsiteX2" fmla="*/ 218989 w 1011653"/>
                    <a:gd name="connsiteY2" fmla="*/ 82364 h 1059545"/>
                    <a:gd name="connsiteX3" fmla="*/ 762172 w 1011653"/>
                    <a:gd name="connsiteY3" fmla="*/ 77946 h 1059545"/>
                    <a:gd name="connsiteX4" fmla="*/ 1011253 w 1011653"/>
                    <a:gd name="connsiteY4" fmla="*/ 568746 h 1059545"/>
                    <a:gd name="connsiteX5" fmla="*/ 744711 w 1011653"/>
                    <a:gd name="connsiteY5" fmla="*/ 1057652 h 10595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011653" h="1059545">
                      <a:moveTo>
                        <a:pt x="260222" y="1059546"/>
                      </a:moveTo>
                      <a:cubicBezTo>
                        <a:pt x="95290" y="963826"/>
                        <a:pt x="6933" y="741252"/>
                        <a:pt x="412" y="559069"/>
                      </a:cubicBezTo>
                      <a:cubicBezTo>
                        <a:pt x="-6320" y="376886"/>
                        <a:pt x="69624" y="186709"/>
                        <a:pt x="218989" y="82364"/>
                      </a:cubicBezTo>
                      <a:cubicBezTo>
                        <a:pt x="376348" y="-27661"/>
                        <a:pt x="600395" y="-25768"/>
                        <a:pt x="762172" y="77946"/>
                      </a:cubicBezTo>
                      <a:cubicBezTo>
                        <a:pt x="923948" y="181660"/>
                        <a:pt x="1018616" y="376886"/>
                        <a:pt x="1011253" y="568746"/>
                      </a:cubicBezTo>
                      <a:cubicBezTo>
                        <a:pt x="1003890" y="760606"/>
                        <a:pt x="899335" y="943841"/>
                        <a:pt x="744711" y="1057652"/>
                      </a:cubicBezTo>
                    </a:path>
                  </a:pathLst>
                </a:custGeom>
                <a:solidFill>
                  <a:srgbClr val="27C18F"/>
                </a:solidFill>
                <a:ln w="2102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9" name="Freeform: Shape 48">
                  <a:extLst>
                    <a:ext uri="{FF2B5EF4-FFF2-40B4-BE49-F238E27FC236}">
                      <a16:creationId xmlns:a16="http://schemas.microsoft.com/office/drawing/2014/main" xmlns="" id="{2A5C447E-1CD0-4725-ACD3-A3F66F6C4212}"/>
                    </a:ext>
                  </a:extLst>
                </p:cNvPr>
                <p:cNvSpPr/>
                <p:nvPr/>
              </p:nvSpPr>
              <p:spPr>
                <a:xfrm>
                  <a:off x="5466471" y="4458861"/>
                  <a:ext cx="52003" cy="1059437"/>
                </a:xfrm>
                <a:custGeom>
                  <a:avLst/>
                  <a:gdLst>
                    <a:gd name="connsiteX0" fmla="*/ 47360 w 52003"/>
                    <a:gd name="connsiteY0" fmla="*/ 1059438 h 1059437"/>
                    <a:gd name="connsiteX1" fmla="*/ 44205 w 52003"/>
                    <a:gd name="connsiteY1" fmla="*/ 1017784 h 1059437"/>
                    <a:gd name="connsiteX2" fmla="*/ 41049 w 52003"/>
                    <a:gd name="connsiteY2" fmla="*/ 904183 h 1059437"/>
                    <a:gd name="connsiteX3" fmla="*/ 28427 w 52003"/>
                    <a:gd name="connsiteY3" fmla="*/ 529508 h 1059437"/>
                    <a:gd name="connsiteX4" fmla="*/ 8020 w 52003"/>
                    <a:gd name="connsiteY4" fmla="*/ 155255 h 1059437"/>
                    <a:gd name="connsiteX5" fmla="*/ 1289 w 52003"/>
                    <a:gd name="connsiteY5" fmla="*/ 41864 h 1059437"/>
                    <a:gd name="connsiteX6" fmla="*/ 657 w 52003"/>
                    <a:gd name="connsiteY6" fmla="*/ 0 h 1059437"/>
                    <a:gd name="connsiteX7" fmla="*/ 7179 w 52003"/>
                    <a:gd name="connsiteY7" fmla="*/ 41233 h 1059437"/>
                    <a:gd name="connsiteX8" fmla="*/ 18960 w 52003"/>
                    <a:gd name="connsiteY8" fmla="*/ 154414 h 1059437"/>
                    <a:gd name="connsiteX9" fmla="*/ 43784 w 52003"/>
                    <a:gd name="connsiteY9" fmla="*/ 528877 h 1059437"/>
                    <a:gd name="connsiteX10" fmla="*/ 51988 w 52003"/>
                    <a:gd name="connsiteY10" fmla="*/ 903972 h 1059437"/>
                    <a:gd name="connsiteX11" fmla="*/ 50305 w 52003"/>
                    <a:gd name="connsiteY11" fmla="*/ 1017784 h 1059437"/>
                    <a:gd name="connsiteX12" fmla="*/ 47360 w 52003"/>
                    <a:gd name="connsiteY12" fmla="*/ 1059438 h 10594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52003" h="1059437">
                      <a:moveTo>
                        <a:pt x="47360" y="1059438"/>
                      </a:moveTo>
                      <a:cubicBezTo>
                        <a:pt x="46308" y="1059438"/>
                        <a:pt x="45256" y="1044501"/>
                        <a:pt x="44205" y="1017784"/>
                      </a:cubicBezTo>
                      <a:cubicBezTo>
                        <a:pt x="43363" y="987911"/>
                        <a:pt x="42311" y="949833"/>
                        <a:pt x="41049" y="904183"/>
                      </a:cubicBezTo>
                      <a:cubicBezTo>
                        <a:pt x="38525" y="808252"/>
                        <a:pt x="34738" y="675718"/>
                        <a:pt x="28427" y="529508"/>
                      </a:cubicBezTo>
                      <a:cubicBezTo>
                        <a:pt x="21905" y="383299"/>
                        <a:pt x="14121" y="250975"/>
                        <a:pt x="8020" y="155255"/>
                      </a:cubicBezTo>
                      <a:cubicBezTo>
                        <a:pt x="5286" y="109604"/>
                        <a:pt x="2972" y="71527"/>
                        <a:pt x="1289" y="41864"/>
                      </a:cubicBezTo>
                      <a:cubicBezTo>
                        <a:pt x="-184" y="15147"/>
                        <a:pt x="-394" y="210"/>
                        <a:pt x="657" y="0"/>
                      </a:cubicBezTo>
                      <a:cubicBezTo>
                        <a:pt x="1709" y="0"/>
                        <a:pt x="4023" y="14516"/>
                        <a:pt x="7179" y="41233"/>
                      </a:cubicBezTo>
                      <a:cubicBezTo>
                        <a:pt x="10545" y="67950"/>
                        <a:pt x="14542" y="106449"/>
                        <a:pt x="18960" y="154414"/>
                      </a:cubicBezTo>
                      <a:cubicBezTo>
                        <a:pt x="27796" y="250133"/>
                        <a:pt x="37262" y="382458"/>
                        <a:pt x="43784" y="528877"/>
                      </a:cubicBezTo>
                      <a:cubicBezTo>
                        <a:pt x="50305" y="675297"/>
                        <a:pt x="52199" y="808042"/>
                        <a:pt x="51988" y="903972"/>
                      </a:cubicBezTo>
                      <a:cubicBezTo>
                        <a:pt x="51778" y="951937"/>
                        <a:pt x="51147" y="990856"/>
                        <a:pt x="50305" y="1017784"/>
                      </a:cubicBezTo>
                      <a:cubicBezTo>
                        <a:pt x="49464" y="1044712"/>
                        <a:pt x="48412" y="1059438"/>
                        <a:pt x="47360" y="1059438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2102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50" name="Freeform: Shape 49">
                  <a:extLst>
                    <a:ext uri="{FF2B5EF4-FFF2-40B4-BE49-F238E27FC236}">
                      <a16:creationId xmlns:a16="http://schemas.microsoft.com/office/drawing/2014/main" xmlns="" id="{FB3E97A8-143E-41BB-B29A-00C8C42DFEC5}"/>
                    </a:ext>
                  </a:extLst>
                </p:cNvPr>
                <p:cNvSpPr/>
                <p:nvPr/>
              </p:nvSpPr>
              <p:spPr>
                <a:xfrm>
                  <a:off x="4923310" y="4945420"/>
                  <a:ext cx="116135" cy="17947"/>
                </a:xfrm>
                <a:custGeom>
                  <a:avLst/>
                  <a:gdLst>
                    <a:gd name="connsiteX0" fmla="*/ 116131 w 116135"/>
                    <a:gd name="connsiteY0" fmla="*/ 13707 h 17947"/>
                    <a:gd name="connsiteX1" fmla="*/ 57437 w 116135"/>
                    <a:gd name="connsiteY1" fmla="*/ 16652 h 17947"/>
                    <a:gd name="connsiteX2" fmla="*/ 5 w 116135"/>
                    <a:gd name="connsiteY2" fmla="*/ 4240 h 17947"/>
                    <a:gd name="connsiteX3" fmla="*/ 58699 w 116135"/>
                    <a:gd name="connsiteY3" fmla="*/ 1295 h 17947"/>
                    <a:gd name="connsiteX4" fmla="*/ 116131 w 116135"/>
                    <a:gd name="connsiteY4" fmla="*/ 13707 h 179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16135" h="17947">
                      <a:moveTo>
                        <a:pt x="116131" y="13707"/>
                      </a:moveTo>
                      <a:cubicBezTo>
                        <a:pt x="115710" y="17915"/>
                        <a:pt x="89414" y="19177"/>
                        <a:pt x="57437" y="16652"/>
                      </a:cubicBezTo>
                      <a:cubicBezTo>
                        <a:pt x="25250" y="13918"/>
                        <a:pt x="-416" y="8448"/>
                        <a:pt x="5" y="4240"/>
                      </a:cubicBezTo>
                      <a:cubicBezTo>
                        <a:pt x="426" y="33"/>
                        <a:pt x="26722" y="-1229"/>
                        <a:pt x="58699" y="1295"/>
                      </a:cubicBezTo>
                      <a:cubicBezTo>
                        <a:pt x="90676" y="3820"/>
                        <a:pt x="116552" y="9289"/>
                        <a:pt x="116131" y="13707"/>
                      </a:cubicBezTo>
                      <a:close/>
                    </a:path>
                  </a:pathLst>
                </a:custGeom>
                <a:solidFill>
                  <a:srgbClr val="263238"/>
                </a:solidFill>
                <a:ln w="2102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51" name="Freeform: Shape 50">
                  <a:extLst>
                    <a:ext uri="{FF2B5EF4-FFF2-40B4-BE49-F238E27FC236}">
                      <a16:creationId xmlns:a16="http://schemas.microsoft.com/office/drawing/2014/main" xmlns="" id="{D45B8D69-BA72-4022-9350-B2231DC06267}"/>
                    </a:ext>
                  </a:extLst>
                </p:cNvPr>
                <p:cNvSpPr/>
                <p:nvPr/>
              </p:nvSpPr>
              <p:spPr>
                <a:xfrm>
                  <a:off x="4953089" y="4752182"/>
                  <a:ext cx="95496" cy="44604"/>
                </a:xfrm>
                <a:custGeom>
                  <a:avLst/>
                  <a:gdLst>
                    <a:gd name="connsiteX0" fmla="*/ 95398 w 95496"/>
                    <a:gd name="connsiteY0" fmla="*/ 43485 h 44604"/>
                    <a:gd name="connsiteX1" fmla="*/ 44698 w 95496"/>
                    <a:gd name="connsiteY1" fmla="*/ 29390 h 44604"/>
                    <a:gd name="connsiteX2" fmla="*/ 99 w 95496"/>
                    <a:gd name="connsiteY2" fmla="*/ 1200 h 44604"/>
                    <a:gd name="connsiteX3" fmla="*/ 50799 w 95496"/>
                    <a:gd name="connsiteY3" fmla="*/ 15295 h 44604"/>
                    <a:gd name="connsiteX4" fmla="*/ 95398 w 95496"/>
                    <a:gd name="connsiteY4" fmla="*/ 43485 h 446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95496" h="44604">
                      <a:moveTo>
                        <a:pt x="95398" y="43485"/>
                      </a:moveTo>
                      <a:cubicBezTo>
                        <a:pt x="93504" y="47272"/>
                        <a:pt x="70995" y="41171"/>
                        <a:pt x="44698" y="29390"/>
                      </a:cubicBezTo>
                      <a:cubicBezTo>
                        <a:pt x="18401" y="17820"/>
                        <a:pt x="-1584" y="5197"/>
                        <a:pt x="99" y="1200"/>
                      </a:cubicBezTo>
                      <a:cubicBezTo>
                        <a:pt x="1782" y="-2797"/>
                        <a:pt x="24502" y="3514"/>
                        <a:pt x="50799" y="15295"/>
                      </a:cubicBezTo>
                      <a:cubicBezTo>
                        <a:pt x="77095" y="26866"/>
                        <a:pt x="97081" y="39488"/>
                        <a:pt x="95398" y="43485"/>
                      </a:cubicBezTo>
                      <a:close/>
                    </a:path>
                  </a:pathLst>
                </a:custGeom>
                <a:solidFill>
                  <a:srgbClr val="263238"/>
                </a:solidFill>
                <a:ln w="2102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52" name="Freeform: Shape 51">
                  <a:extLst>
                    <a:ext uri="{FF2B5EF4-FFF2-40B4-BE49-F238E27FC236}">
                      <a16:creationId xmlns:a16="http://schemas.microsoft.com/office/drawing/2014/main" xmlns="" id="{1D1F2290-B2CC-484E-B89B-3426F1783884}"/>
                    </a:ext>
                  </a:extLst>
                </p:cNvPr>
                <p:cNvSpPr/>
                <p:nvPr/>
              </p:nvSpPr>
              <p:spPr>
                <a:xfrm>
                  <a:off x="5037842" y="4595909"/>
                  <a:ext cx="94966" cy="78998"/>
                </a:xfrm>
                <a:custGeom>
                  <a:avLst/>
                  <a:gdLst>
                    <a:gd name="connsiteX0" fmla="*/ 94794 w 94966"/>
                    <a:gd name="connsiteY0" fmla="*/ 78374 h 78998"/>
                    <a:gd name="connsiteX1" fmla="*/ 40518 w 94966"/>
                    <a:gd name="connsiteY1" fmla="*/ 47870 h 78998"/>
                    <a:gd name="connsiteX2" fmla="*/ 337 w 94966"/>
                    <a:gd name="connsiteY2" fmla="*/ 325 h 78998"/>
                    <a:gd name="connsiteX3" fmla="*/ 50195 w 94966"/>
                    <a:gd name="connsiteY3" fmla="*/ 36089 h 78998"/>
                    <a:gd name="connsiteX4" fmla="*/ 94794 w 94966"/>
                    <a:gd name="connsiteY4" fmla="*/ 78374 h 789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94966" h="78998">
                      <a:moveTo>
                        <a:pt x="94794" y="78374"/>
                      </a:moveTo>
                      <a:cubicBezTo>
                        <a:pt x="92480" y="81950"/>
                        <a:pt x="67025" y="69959"/>
                        <a:pt x="40518" y="47870"/>
                      </a:cubicBezTo>
                      <a:cubicBezTo>
                        <a:pt x="14011" y="25991"/>
                        <a:pt x="-2608" y="3060"/>
                        <a:pt x="337" y="325"/>
                      </a:cubicBezTo>
                      <a:cubicBezTo>
                        <a:pt x="3492" y="-2620"/>
                        <a:pt x="24530" y="14841"/>
                        <a:pt x="50195" y="36089"/>
                      </a:cubicBezTo>
                      <a:cubicBezTo>
                        <a:pt x="75861" y="57336"/>
                        <a:pt x="97108" y="74797"/>
                        <a:pt x="94794" y="78374"/>
                      </a:cubicBezTo>
                      <a:close/>
                    </a:path>
                  </a:pathLst>
                </a:custGeom>
                <a:solidFill>
                  <a:srgbClr val="263238"/>
                </a:solidFill>
                <a:ln w="2102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53" name="Freeform: Shape 52">
                  <a:extLst>
                    <a:ext uri="{FF2B5EF4-FFF2-40B4-BE49-F238E27FC236}">
                      <a16:creationId xmlns:a16="http://schemas.microsoft.com/office/drawing/2014/main" xmlns="" id="{A62077D6-30D3-4F0F-BAFD-2D3113D58158}"/>
                    </a:ext>
                  </a:extLst>
                </p:cNvPr>
                <p:cNvSpPr/>
                <p:nvPr/>
              </p:nvSpPr>
              <p:spPr>
                <a:xfrm>
                  <a:off x="5175457" y="4468014"/>
                  <a:ext cx="42895" cy="91928"/>
                </a:xfrm>
                <a:custGeom>
                  <a:avLst/>
                  <a:gdLst>
                    <a:gd name="connsiteX0" fmla="*/ 41749 w 42895"/>
                    <a:gd name="connsiteY0" fmla="*/ 91826 h 91928"/>
                    <a:gd name="connsiteX1" fmla="*/ 14400 w 42895"/>
                    <a:gd name="connsiteY1" fmla="*/ 49120 h 91928"/>
                    <a:gd name="connsiteX2" fmla="*/ 1147 w 42895"/>
                    <a:gd name="connsiteY2" fmla="*/ 103 h 91928"/>
                    <a:gd name="connsiteX3" fmla="*/ 28495 w 42895"/>
                    <a:gd name="connsiteY3" fmla="*/ 42809 h 91928"/>
                    <a:gd name="connsiteX4" fmla="*/ 41749 w 42895"/>
                    <a:gd name="connsiteY4" fmla="*/ 91826 h 919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2895" h="91928">
                      <a:moveTo>
                        <a:pt x="41749" y="91826"/>
                      </a:moveTo>
                      <a:cubicBezTo>
                        <a:pt x="37752" y="93509"/>
                        <a:pt x="25550" y="74365"/>
                        <a:pt x="14400" y="49120"/>
                      </a:cubicBezTo>
                      <a:cubicBezTo>
                        <a:pt x="3251" y="23875"/>
                        <a:pt x="-2640" y="1996"/>
                        <a:pt x="1147" y="103"/>
                      </a:cubicBezTo>
                      <a:cubicBezTo>
                        <a:pt x="5144" y="-1580"/>
                        <a:pt x="17346" y="17564"/>
                        <a:pt x="28495" y="42809"/>
                      </a:cubicBezTo>
                      <a:cubicBezTo>
                        <a:pt x="39645" y="68264"/>
                        <a:pt x="45536" y="90143"/>
                        <a:pt x="41749" y="91826"/>
                      </a:cubicBezTo>
                      <a:close/>
                    </a:path>
                  </a:pathLst>
                </a:custGeom>
                <a:solidFill>
                  <a:srgbClr val="263238"/>
                </a:solidFill>
                <a:ln w="2102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54" name="Freeform: Shape 53">
                  <a:extLst>
                    <a:ext uri="{FF2B5EF4-FFF2-40B4-BE49-F238E27FC236}">
                      <a16:creationId xmlns:a16="http://schemas.microsoft.com/office/drawing/2014/main" xmlns="" id="{A6A2D90D-4FC0-4138-9103-CFA61FEC4CFF}"/>
                    </a:ext>
                  </a:extLst>
                </p:cNvPr>
                <p:cNvSpPr/>
                <p:nvPr/>
              </p:nvSpPr>
              <p:spPr>
                <a:xfrm>
                  <a:off x="5316300" y="4378685"/>
                  <a:ext cx="34649" cy="100048"/>
                </a:xfrm>
                <a:custGeom>
                  <a:avLst/>
                  <a:gdLst>
                    <a:gd name="connsiteX0" fmla="*/ 33441 w 34649"/>
                    <a:gd name="connsiteY0" fmla="*/ 99950 h 100048"/>
                    <a:gd name="connsiteX1" fmla="*/ 7775 w 34649"/>
                    <a:gd name="connsiteY1" fmla="*/ 53247 h 100048"/>
                    <a:gd name="connsiteX2" fmla="*/ 2516 w 34649"/>
                    <a:gd name="connsiteY2" fmla="*/ 23 h 100048"/>
                    <a:gd name="connsiteX3" fmla="*/ 22712 w 34649"/>
                    <a:gd name="connsiteY3" fmla="*/ 48619 h 100048"/>
                    <a:gd name="connsiteX4" fmla="*/ 33441 w 34649"/>
                    <a:gd name="connsiteY4" fmla="*/ 99950 h 1000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649" h="100048">
                      <a:moveTo>
                        <a:pt x="33441" y="99950"/>
                      </a:moveTo>
                      <a:cubicBezTo>
                        <a:pt x="29654" y="101633"/>
                        <a:pt x="16401" y="81437"/>
                        <a:pt x="7775" y="53247"/>
                      </a:cubicBezTo>
                      <a:cubicBezTo>
                        <a:pt x="-1060" y="25057"/>
                        <a:pt x="-1691" y="654"/>
                        <a:pt x="2516" y="23"/>
                      </a:cubicBezTo>
                      <a:cubicBezTo>
                        <a:pt x="6723" y="-818"/>
                        <a:pt x="14086" y="21481"/>
                        <a:pt x="22712" y="48619"/>
                      </a:cubicBezTo>
                      <a:cubicBezTo>
                        <a:pt x="30916" y="75757"/>
                        <a:pt x="37438" y="98057"/>
                        <a:pt x="33441" y="99950"/>
                      </a:cubicBezTo>
                      <a:close/>
                    </a:path>
                  </a:pathLst>
                </a:custGeom>
                <a:solidFill>
                  <a:srgbClr val="263238"/>
                </a:solidFill>
                <a:ln w="2102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55" name="Freeform: Shape 54">
                  <a:extLst>
                    <a:ext uri="{FF2B5EF4-FFF2-40B4-BE49-F238E27FC236}">
                      <a16:creationId xmlns:a16="http://schemas.microsoft.com/office/drawing/2014/main" xmlns="" id="{A519C32B-D113-4582-A8DC-3D8ECB548C9B}"/>
                    </a:ext>
                  </a:extLst>
                </p:cNvPr>
                <p:cNvSpPr/>
                <p:nvPr/>
              </p:nvSpPr>
              <p:spPr>
                <a:xfrm>
                  <a:off x="5543759" y="4387025"/>
                  <a:ext cx="29407" cy="72566"/>
                </a:xfrm>
                <a:custGeom>
                  <a:avLst/>
                  <a:gdLst>
                    <a:gd name="connsiteX0" fmla="*/ 27504 w 29407"/>
                    <a:gd name="connsiteY0" fmla="*/ 99 h 72566"/>
                    <a:gd name="connsiteX1" fmla="*/ 22035 w 29407"/>
                    <a:gd name="connsiteY1" fmla="*/ 38808 h 72566"/>
                    <a:gd name="connsiteX2" fmla="*/ 2049 w 29407"/>
                    <a:gd name="connsiteY2" fmla="*/ 72467 h 72566"/>
                    <a:gd name="connsiteX3" fmla="*/ 7309 w 29407"/>
                    <a:gd name="connsiteY3" fmla="*/ 33759 h 72566"/>
                    <a:gd name="connsiteX4" fmla="*/ 27504 w 29407"/>
                    <a:gd name="connsiteY4" fmla="*/ 99 h 725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9407" h="72566">
                      <a:moveTo>
                        <a:pt x="27504" y="99"/>
                      </a:moveTo>
                      <a:cubicBezTo>
                        <a:pt x="31501" y="1572"/>
                        <a:pt x="28977" y="18822"/>
                        <a:pt x="22035" y="38808"/>
                      </a:cubicBezTo>
                      <a:cubicBezTo>
                        <a:pt x="14882" y="58793"/>
                        <a:pt x="6046" y="73940"/>
                        <a:pt x="2049" y="72467"/>
                      </a:cubicBezTo>
                      <a:cubicBezTo>
                        <a:pt x="-2158" y="70995"/>
                        <a:pt x="366" y="53744"/>
                        <a:pt x="7309" y="33759"/>
                      </a:cubicBezTo>
                      <a:cubicBezTo>
                        <a:pt x="14461" y="13773"/>
                        <a:pt x="23507" y="-1374"/>
                        <a:pt x="27504" y="99"/>
                      </a:cubicBezTo>
                      <a:close/>
                    </a:path>
                  </a:pathLst>
                </a:custGeom>
                <a:solidFill>
                  <a:srgbClr val="263238"/>
                </a:solidFill>
                <a:ln w="2102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56" name="Freeform: Shape 55">
                  <a:extLst>
                    <a:ext uri="{FF2B5EF4-FFF2-40B4-BE49-F238E27FC236}">
                      <a16:creationId xmlns:a16="http://schemas.microsoft.com/office/drawing/2014/main" xmlns="" id="{52E7E14C-D766-485F-96D3-AB2119F2FA37}"/>
                    </a:ext>
                  </a:extLst>
                </p:cNvPr>
                <p:cNvSpPr/>
                <p:nvPr/>
              </p:nvSpPr>
              <p:spPr>
                <a:xfrm>
                  <a:off x="5677428" y="4456982"/>
                  <a:ext cx="58630" cy="54657"/>
                </a:xfrm>
                <a:custGeom>
                  <a:avLst/>
                  <a:gdLst>
                    <a:gd name="connsiteX0" fmla="*/ 58136 w 58630"/>
                    <a:gd name="connsiteY0" fmla="*/ 616 h 54657"/>
                    <a:gd name="connsiteX1" fmla="*/ 34575 w 58630"/>
                    <a:gd name="connsiteY1" fmla="*/ 33014 h 54657"/>
                    <a:gd name="connsiteX2" fmla="*/ 494 w 58630"/>
                    <a:gd name="connsiteY2" fmla="*/ 54051 h 54657"/>
                    <a:gd name="connsiteX3" fmla="*/ 24056 w 58630"/>
                    <a:gd name="connsiteY3" fmla="*/ 21654 h 54657"/>
                    <a:gd name="connsiteX4" fmla="*/ 58136 w 58630"/>
                    <a:gd name="connsiteY4" fmla="*/ 616 h 546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8630" h="54657">
                      <a:moveTo>
                        <a:pt x="58136" y="616"/>
                      </a:moveTo>
                      <a:cubicBezTo>
                        <a:pt x="61082" y="3772"/>
                        <a:pt x="50563" y="18288"/>
                        <a:pt x="34575" y="33014"/>
                      </a:cubicBezTo>
                      <a:cubicBezTo>
                        <a:pt x="18586" y="47740"/>
                        <a:pt x="3439" y="57207"/>
                        <a:pt x="494" y="54051"/>
                      </a:cubicBezTo>
                      <a:cubicBezTo>
                        <a:pt x="-2451" y="50895"/>
                        <a:pt x="8068" y="36380"/>
                        <a:pt x="24056" y="21654"/>
                      </a:cubicBezTo>
                      <a:cubicBezTo>
                        <a:pt x="39834" y="6717"/>
                        <a:pt x="55191" y="-2539"/>
                        <a:pt x="58136" y="616"/>
                      </a:cubicBezTo>
                      <a:close/>
                    </a:path>
                  </a:pathLst>
                </a:custGeom>
                <a:solidFill>
                  <a:srgbClr val="263238"/>
                </a:solidFill>
                <a:ln w="2102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57" name="Freeform: Shape 56">
                  <a:extLst>
                    <a:ext uri="{FF2B5EF4-FFF2-40B4-BE49-F238E27FC236}">
                      <a16:creationId xmlns:a16="http://schemas.microsoft.com/office/drawing/2014/main" xmlns="" id="{9F1BAE71-33D1-4E27-B0F8-F5989A6CACD8}"/>
                    </a:ext>
                  </a:extLst>
                </p:cNvPr>
                <p:cNvSpPr/>
                <p:nvPr/>
              </p:nvSpPr>
              <p:spPr>
                <a:xfrm>
                  <a:off x="5813764" y="4549962"/>
                  <a:ext cx="66596" cy="46562"/>
                </a:xfrm>
                <a:custGeom>
                  <a:avLst/>
                  <a:gdLst>
                    <a:gd name="connsiteX0" fmla="*/ 66327 w 66596"/>
                    <a:gd name="connsiteY0" fmla="*/ 832 h 46562"/>
                    <a:gd name="connsiteX1" fmla="*/ 37716 w 66596"/>
                    <a:gd name="connsiteY1" fmla="*/ 29653 h 46562"/>
                    <a:gd name="connsiteX2" fmla="*/ 270 w 66596"/>
                    <a:gd name="connsiteY2" fmla="*/ 45641 h 46562"/>
                    <a:gd name="connsiteX3" fmla="*/ 28880 w 66596"/>
                    <a:gd name="connsiteY3" fmla="*/ 16820 h 46562"/>
                    <a:gd name="connsiteX4" fmla="*/ 66327 w 66596"/>
                    <a:gd name="connsiteY4" fmla="*/ 832 h 465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6596" h="46562">
                      <a:moveTo>
                        <a:pt x="66327" y="832"/>
                      </a:moveTo>
                      <a:cubicBezTo>
                        <a:pt x="68641" y="4408"/>
                        <a:pt x="55808" y="17241"/>
                        <a:pt x="37716" y="29653"/>
                      </a:cubicBezTo>
                      <a:cubicBezTo>
                        <a:pt x="19414" y="42065"/>
                        <a:pt x="2794" y="49218"/>
                        <a:pt x="270" y="45641"/>
                      </a:cubicBezTo>
                      <a:cubicBezTo>
                        <a:pt x="-2044" y="42065"/>
                        <a:pt x="10788" y="29232"/>
                        <a:pt x="28880" y="16820"/>
                      </a:cubicBezTo>
                      <a:cubicBezTo>
                        <a:pt x="47183" y="4618"/>
                        <a:pt x="64013" y="-2534"/>
                        <a:pt x="66327" y="832"/>
                      </a:cubicBezTo>
                      <a:close/>
                    </a:path>
                  </a:pathLst>
                </a:custGeom>
                <a:solidFill>
                  <a:srgbClr val="263238"/>
                </a:solidFill>
                <a:ln w="2102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58" name="Freeform: Shape 57">
                  <a:extLst>
                    <a:ext uri="{FF2B5EF4-FFF2-40B4-BE49-F238E27FC236}">
                      <a16:creationId xmlns:a16="http://schemas.microsoft.com/office/drawing/2014/main" xmlns="" id="{094B592C-E239-42BD-A5A1-F3EA137CEF2C}"/>
                    </a:ext>
                  </a:extLst>
                </p:cNvPr>
                <p:cNvSpPr/>
                <p:nvPr/>
              </p:nvSpPr>
              <p:spPr>
                <a:xfrm>
                  <a:off x="5886093" y="4688915"/>
                  <a:ext cx="96757" cy="43605"/>
                </a:xfrm>
                <a:custGeom>
                  <a:avLst/>
                  <a:gdLst>
                    <a:gd name="connsiteX0" fmla="*/ 96659 w 96757"/>
                    <a:gd name="connsiteY0" fmla="*/ 1145 h 43605"/>
                    <a:gd name="connsiteX1" fmla="*/ 51429 w 96757"/>
                    <a:gd name="connsiteY1" fmla="*/ 28914 h 43605"/>
                    <a:gd name="connsiteX2" fmla="*/ 98 w 96757"/>
                    <a:gd name="connsiteY2" fmla="*/ 42378 h 43605"/>
                    <a:gd name="connsiteX3" fmla="*/ 45328 w 96757"/>
                    <a:gd name="connsiteY3" fmla="*/ 14609 h 43605"/>
                    <a:gd name="connsiteX4" fmla="*/ 96659 w 96757"/>
                    <a:gd name="connsiteY4" fmla="*/ 1145 h 436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96757" h="43605">
                      <a:moveTo>
                        <a:pt x="96659" y="1145"/>
                      </a:moveTo>
                      <a:cubicBezTo>
                        <a:pt x="98342" y="5142"/>
                        <a:pt x="78146" y="17554"/>
                        <a:pt x="51429" y="28914"/>
                      </a:cubicBezTo>
                      <a:cubicBezTo>
                        <a:pt x="24712" y="40274"/>
                        <a:pt x="1781" y="46375"/>
                        <a:pt x="98" y="42378"/>
                      </a:cubicBezTo>
                      <a:cubicBezTo>
                        <a:pt x="-1585" y="38381"/>
                        <a:pt x="18611" y="25969"/>
                        <a:pt x="45328" y="14609"/>
                      </a:cubicBezTo>
                      <a:cubicBezTo>
                        <a:pt x="72045" y="3249"/>
                        <a:pt x="94976" y="-2642"/>
                        <a:pt x="96659" y="1145"/>
                      </a:cubicBezTo>
                      <a:close/>
                    </a:path>
                  </a:pathLst>
                </a:custGeom>
                <a:solidFill>
                  <a:srgbClr val="263238"/>
                </a:solidFill>
                <a:ln w="2102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59" name="Freeform: Shape 58">
                  <a:extLst>
                    <a:ext uri="{FF2B5EF4-FFF2-40B4-BE49-F238E27FC236}">
                      <a16:creationId xmlns:a16="http://schemas.microsoft.com/office/drawing/2014/main" xmlns="" id="{E75EBBFA-3348-4FCB-807C-0EF1C9547FAE}"/>
                    </a:ext>
                  </a:extLst>
                </p:cNvPr>
                <p:cNvSpPr/>
                <p:nvPr/>
              </p:nvSpPr>
              <p:spPr>
                <a:xfrm>
                  <a:off x="5929101" y="4838147"/>
                  <a:ext cx="94057" cy="19175"/>
                </a:xfrm>
                <a:custGeom>
                  <a:avLst/>
                  <a:gdLst>
                    <a:gd name="connsiteX0" fmla="*/ 94043 w 94057"/>
                    <a:gd name="connsiteY0" fmla="*/ 3803 h 19175"/>
                    <a:gd name="connsiteX1" fmla="*/ 47971 w 94057"/>
                    <a:gd name="connsiteY1" fmla="*/ 17266 h 19175"/>
                    <a:gd name="connsiteX2" fmla="*/ 6 w 94057"/>
                    <a:gd name="connsiteY2" fmla="*/ 15373 h 19175"/>
                    <a:gd name="connsiteX3" fmla="*/ 46078 w 94057"/>
                    <a:gd name="connsiteY3" fmla="*/ 1909 h 19175"/>
                    <a:gd name="connsiteX4" fmla="*/ 94043 w 94057"/>
                    <a:gd name="connsiteY4" fmla="*/ 3803 h 191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94057" h="19175">
                      <a:moveTo>
                        <a:pt x="94043" y="3803"/>
                      </a:moveTo>
                      <a:cubicBezTo>
                        <a:pt x="94674" y="8010"/>
                        <a:pt x="74058" y="14111"/>
                        <a:pt x="47971" y="17266"/>
                      </a:cubicBezTo>
                      <a:cubicBezTo>
                        <a:pt x="22096" y="20422"/>
                        <a:pt x="638" y="19581"/>
                        <a:pt x="6" y="15373"/>
                      </a:cubicBezTo>
                      <a:cubicBezTo>
                        <a:pt x="-414" y="11166"/>
                        <a:pt x="19992" y="5065"/>
                        <a:pt x="46078" y="1909"/>
                      </a:cubicBezTo>
                      <a:cubicBezTo>
                        <a:pt x="72164" y="-1246"/>
                        <a:pt x="93622" y="-405"/>
                        <a:pt x="94043" y="3803"/>
                      </a:cubicBezTo>
                      <a:close/>
                    </a:path>
                  </a:pathLst>
                </a:custGeom>
                <a:solidFill>
                  <a:srgbClr val="263238"/>
                </a:solidFill>
                <a:ln w="2102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0" name="Freeform: Shape 59">
                  <a:extLst>
                    <a:ext uri="{FF2B5EF4-FFF2-40B4-BE49-F238E27FC236}">
                      <a16:creationId xmlns:a16="http://schemas.microsoft.com/office/drawing/2014/main" xmlns="" id="{09ECF180-95DE-40C4-B21D-9E4D2C382475}"/>
                    </a:ext>
                  </a:extLst>
                </p:cNvPr>
                <p:cNvSpPr/>
                <p:nvPr/>
              </p:nvSpPr>
              <p:spPr>
                <a:xfrm>
                  <a:off x="5952146" y="4987745"/>
                  <a:ext cx="92138" cy="42481"/>
                </a:xfrm>
                <a:custGeom>
                  <a:avLst/>
                  <a:gdLst>
                    <a:gd name="connsiteX0" fmla="*/ 92036 w 92138"/>
                    <a:gd name="connsiteY0" fmla="*/ 41226 h 42481"/>
                    <a:gd name="connsiteX1" fmla="*/ 43019 w 92138"/>
                    <a:gd name="connsiteY1" fmla="*/ 28393 h 42481"/>
                    <a:gd name="connsiteX2" fmla="*/ 103 w 92138"/>
                    <a:gd name="connsiteY2" fmla="*/ 1255 h 42481"/>
                    <a:gd name="connsiteX3" fmla="*/ 49120 w 92138"/>
                    <a:gd name="connsiteY3" fmla="*/ 14088 h 42481"/>
                    <a:gd name="connsiteX4" fmla="*/ 92036 w 92138"/>
                    <a:gd name="connsiteY4" fmla="*/ 41226 h 424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92138" h="42481">
                      <a:moveTo>
                        <a:pt x="92036" y="41226"/>
                      </a:moveTo>
                      <a:cubicBezTo>
                        <a:pt x="90353" y="45223"/>
                        <a:pt x="68474" y="39333"/>
                        <a:pt x="43019" y="28393"/>
                      </a:cubicBezTo>
                      <a:cubicBezTo>
                        <a:pt x="17564" y="17454"/>
                        <a:pt x="-1580" y="5252"/>
                        <a:pt x="103" y="1255"/>
                      </a:cubicBezTo>
                      <a:cubicBezTo>
                        <a:pt x="1786" y="-2742"/>
                        <a:pt x="23665" y="3148"/>
                        <a:pt x="49120" y="14088"/>
                      </a:cubicBezTo>
                      <a:cubicBezTo>
                        <a:pt x="74575" y="25027"/>
                        <a:pt x="93719" y="37229"/>
                        <a:pt x="92036" y="41226"/>
                      </a:cubicBezTo>
                      <a:close/>
                    </a:path>
                  </a:pathLst>
                </a:custGeom>
                <a:solidFill>
                  <a:srgbClr val="263238"/>
                </a:solidFill>
                <a:ln w="2102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1" name="Freeform: Shape 60">
                  <a:extLst>
                    <a:ext uri="{FF2B5EF4-FFF2-40B4-BE49-F238E27FC236}">
                      <a16:creationId xmlns:a16="http://schemas.microsoft.com/office/drawing/2014/main" xmlns="" id="{6129B033-2619-40D8-857C-36426C4DE4FE}"/>
                    </a:ext>
                  </a:extLst>
                </p:cNvPr>
                <p:cNvSpPr/>
                <p:nvPr/>
              </p:nvSpPr>
              <p:spPr>
                <a:xfrm>
                  <a:off x="5923943" y="5122834"/>
                  <a:ext cx="101808" cy="67548"/>
                </a:xfrm>
                <a:custGeom>
                  <a:avLst/>
                  <a:gdLst>
                    <a:gd name="connsiteX0" fmla="*/ 101725 w 101808"/>
                    <a:gd name="connsiteY0" fmla="*/ 66441 h 67548"/>
                    <a:gd name="connsiteX1" fmla="*/ 43662 w 101808"/>
                    <a:gd name="connsiteY1" fmla="*/ 44772 h 67548"/>
                    <a:gd name="connsiteX2" fmla="*/ 325 w 101808"/>
                    <a:gd name="connsiteY2" fmla="*/ 384 h 67548"/>
                    <a:gd name="connsiteX3" fmla="*/ 52077 w 101808"/>
                    <a:gd name="connsiteY3" fmla="*/ 31939 h 67548"/>
                    <a:gd name="connsiteX4" fmla="*/ 101725 w 101808"/>
                    <a:gd name="connsiteY4" fmla="*/ 66441 h 675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1808" h="67548">
                      <a:moveTo>
                        <a:pt x="101725" y="66441"/>
                      </a:moveTo>
                      <a:cubicBezTo>
                        <a:pt x="100463" y="70438"/>
                        <a:pt x="72694" y="63706"/>
                        <a:pt x="43662" y="44772"/>
                      </a:cubicBezTo>
                      <a:cubicBezTo>
                        <a:pt x="14631" y="25839"/>
                        <a:pt x="-2620" y="3118"/>
                        <a:pt x="325" y="384"/>
                      </a:cubicBezTo>
                      <a:cubicBezTo>
                        <a:pt x="3481" y="-2772"/>
                        <a:pt x="24518" y="14058"/>
                        <a:pt x="52077" y="31939"/>
                      </a:cubicBezTo>
                      <a:cubicBezTo>
                        <a:pt x="79426" y="49821"/>
                        <a:pt x="103408" y="62233"/>
                        <a:pt x="101725" y="66441"/>
                      </a:cubicBezTo>
                      <a:close/>
                    </a:path>
                  </a:pathLst>
                </a:custGeom>
                <a:solidFill>
                  <a:srgbClr val="263238"/>
                </a:solidFill>
                <a:ln w="2102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2" name="Freeform: Shape 61">
                  <a:extLst>
                    <a:ext uri="{FF2B5EF4-FFF2-40B4-BE49-F238E27FC236}">
                      <a16:creationId xmlns:a16="http://schemas.microsoft.com/office/drawing/2014/main" xmlns="" id="{AE157F86-DCE8-4B18-8A32-6F7E7545F909}"/>
                    </a:ext>
                  </a:extLst>
                </p:cNvPr>
                <p:cNvSpPr/>
                <p:nvPr/>
              </p:nvSpPr>
              <p:spPr>
                <a:xfrm>
                  <a:off x="5866607" y="5254257"/>
                  <a:ext cx="75836" cy="81541"/>
                </a:xfrm>
                <a:custGeom>
                  <a:avLst/>
                  <a:gdLst>
                    <a:gd name="connsiteX0" fmla="*/ 75544 w 75836"/>
                    <a:gd name="connsiteY0" fmla="*/ 81017 h 81541"/>
                    <a:gd name="connsiteX1" fmla="*/ 29683 w 75836"/>
                    <a:gd name="connsiteY1" fmla="*/ 48409 h 81541"/>
                    <a:gd name="connsiteX2" fmla="*/ 651 w 75836"/>
                    <a:gd name="connsiteY2" fmla="*/ 233 h 81541"/>
                    <a:gd name="connsiteX3" fmla="*/ 41043 w 75836"/>
                    <a:gd name="connsiteY3" fmla="*/ 37890 h 81541"/>
                    <a:gd name="connsiteX4" fmla="*/ 75544 w 75836"/>
                    <a:gd name="connsiteY4" fmla="*/ 81017 h 815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5836" h="81541">
                      <a:moveTo>
                        <a:pt x="75544" y="81017"/>
                      </a:moveTo>
                      <a:cubicBezTo>
                        <a:pt x="73019" y="84383"/>
                        <a:pt x="50930" y="71339"/>
                        <a:pt x="29683" y="48409"/>
                      </a:cubicBezTo>
                      <a:cubicBezTo>
                        <a:pt x="8435" y="25478"/>
                        <a:pt x="-2925" y="2548"/>
                        <a:pt x="651" y="233"/>
                      </a:cubicBezTo>
                      <a:cubicBezTo>
                        <a:pt x="4228" y="-2291"/>
                        <a:pt x="20637" y="16011"/>
                        <a:pt x="41043" y="37890"/>
                      </a:cubicBezTo>
                      <a:cubicBezTo>
                        <a:pt x="61449" y="59979"/>
                        <a:pt x="78279" y="77651"/>
                        <a:pt x="75544" y="81017"/>
                      </a:cubicBezTo>
                      <a:close/>
                    </a:path>
                  </a:pathLst>
                </a:custGeom>
                <a:solidFill>
                  <a:srgbClr val="263238"/>
                </a:solidFill>
                <a:ln w="2102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3" name="Freeform: Shape 62">
                  <a:extLst>
                    <a:ext uri="{FF2B5EF4-FFF2-40B4-BE49-F238E27FC236}">
                      <a16:creationId xmlns:a16="http://schemas.microsoft.com/office/drawing/2014/main" xmlns="" id="{C78DBE97-39FB-4939-9FF0-299EA8A18EC0}"/>
                    </a:ext>
                  </a:extLst>
                </p:cNvPr>
                <p:cNvSpPr/>
                <p:nvPr/>
              </p:nvSpPr>
              <p:spPr>
                <a:xfrm>
                  <a:off x="5038491" y="5351705"/>
                  <a:ext cx="110872" cy="59281"/>
                </a:xfrm>
                <a:custGeom>
                  <a:avLst/>
                  <a:gdLst>
                    <a:gd name="connsiteX0" fmla="*/ 110764 w 110872"/>
                    <a:gd name="connsiteY0" fmla="*/ 820 h 59281"/>
                    <a:gd name="connsiteX1" fmla="*/ 59013 w 110872"/>
                    <a:gd name="connsiteY1" fmla="*/ 36583 h 59281"/>
                    <a:gd name="connsiteX2" fmla="*/ 108 w 110872"/>
                    <a:gd name="connsiteY2" fmla="*/ 58462 h 59281"/>
                    <a:gd name="connsiteX3" fmla="*/ 51860 w 110872"/>
                    <a:gd name="connsiteY3" fmla="*/ 22699 h 59281"/>
                    <a:gd name="connsiteX4" fmla="*/ 110764 w 110872"/>
                    <a:gd name="connsiteY4" fmla="*/ 820 h 592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10872" h="59281">
                      <a:moveTo>
                        <a:pt x="110764" y="820"/>
                      </a:moveTo>
                      <a:cubicBezTo>
                        <a:pt x="112658" y="4607"/>
                        <a:pt x="89517" y="20595"/>
                        <a:pt x="59013" y="36583"/>
                      </a:cubicBezTo>
                      <a:cubicBezTo>
                        <a:pt x="28509" y="52572"/>
                        <a:pt x="2002" y="62249"/>
                        <a:pt x="108" y="58462"/>
                      </a:cubicBezTo>
                      <a:cubicBezTo>
                        <a:pt x="-1785" y="54675"/>
                        <a:pt x="21356" y="38687"/>
                        <a:pt x="51860" y="22699"/>
                      </a:cubicBezTo>
                      <a:cubicBezTo>
                        <a:pt x="82364" y="6710"/>
                        <a:pt x="108871" y="-2967"/>
                        <a:pt x="110764" y="820"/>
                      </a:cubicBezTo>
                      <a:close/>
                    </a:path>
                  </a:pathLst>
                </a:custGeom>
                <a:solidFill>
                  <a:srgbClr val="263238"/>
                </a:solidFill>
                <a:ln w="2102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4" name="Freeform: Shape 63">
                  <a:extLst>
                    <a:ext uri="{FF2B5EF4-FFF2-40B4-BE49-F238E27FC236}">
                      <a16:creationId xmlns:a16="http://schemas.microsoft.com/office/drawing/2014/main" xmlns="" id="{DA82A5C2-67FC-463F-AE14-549BA0FDCDD4}"/>
                    </a:ext>
                  </a:extLst>
                </p:cNvPr>
                <p:cNvSpPr/>
                <p:nvPr/>
              </p:nvSpPr>
              <p:spPr>
                <a:xfrm>
                  <a:off x="4987372" y="5219181"/>
                  <a:ext cx="89620" cy="42977"/>
                </a:xfrm>
                <a:custGeom>
                  <a:avLst/>
                  <a:gdLst>
                    <a:gd name="connsiteX0" fmla="*/ 89515 w 89620"/>
                    <a:gd name="connsiteY0" fmla="*/ 1229 h 42977"/>
                    <a:gd name="connsiteX1" fmla="*/ 48071 w 89620"/>
                    <a:gd name="connsiteY1" fmla="*/ 28578 h 42977"/>
                    <a:gd name="connsiteX2" fmla="*/ 106 w 89620"/>
                    <a:gd name="connsiteY2" fmla="*/ 41831 h 42977"/>
                    <a:gd name="connsiteX3" fmla="*/ 41550 w 89620"/>
                    <a:gd name="connsiteY3" fmla="*/ 14483 h 42977"/>
                    <a:gd name="connsiteX4" fmla="*/ 89515 w 89620"/>
                    <a:gd name="connsiteY4" fmla="*/ 1229 h 429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9620" h="42977">
                      <a:moveTo>
                        <a:pt x="89515" y="1229"/>
                      </a:moveTo>
                      <a:cubicBezTo>
                        <a:pt x="91198" y="5016"/>
                        <a:pt x="72685" y="17428"/>
                        <a:pt x="48071" y="28578"/>
                      </a:cubicBezTo>
                      <a:cubicBezTo>
                        <a:pt x="23458" y="39727"/>
                        <a:pt x="2000" y="45618"/>
                        <a:pt x="106" y="41831"/>
                      </a:cubicBezTo>
                      <a:cubicBezTo>
                        <a:pt x="-1577" y="38044"/>
                        <a:pt x="16936" y="25632"/>
                        <a:pt x="41550" y="14483"/>
                      </a:cubicBezTo>
                      <a:cubicBezTo>
                        <a:pt x="66163" y="3333"/>
                        <a:pt x="87621" y="-2768"/>
                        <a:pt x="89515" y="1229"/>
                      </a:cubicBezTo>
                      <a:close/>
                    </a:path>
                  </a:pathLst>
                </a:custGeom>
                <a:solidFill>
                  <a:srgbClr val="263238"/>
                </a:solidFill>
                <a:ln w="2102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5" name="Freeform: Shape 64">
                  <a:extLst>
                    <a:ext uri="{FF2B5EF4-FFF2-40B4-BE49-F238E27FC236}">
                      <a16:creationId xmlns:a16="http://schemas.microsoft.com/office/drawing/2014/main" xmlns="" id="{F0F90B6B-4D9C-4BFC-AD5B-4AC1667DDE90}"/>
                    </a:ext>
                  </a:extLst>
                </p:cNvPr>
                <p:cNvSpPr/>
                <p:nvPr/>
              </p:nvSpPr>
              <p:spPr>
                <a:xfrm>
                  <a:off x="4919095" y="5100151"/>
                  <a:ext cx="104580" cy="21309"/>
                </a:xfrm>
                <a:custGeom>
                  <a:avLst/>
                  <a:gdLst>
                    <a:gd name="connsiteX0" fmla="*/ 104568 w 104580"/>
                    <a:gd name="connsiteY0" fmla="*/ 3292 h 21309"/>
                    <a:gd name="connsiteX1" fmla="*/ 53447 w 104580"/>
                    <a:gd name="connsiteY1" fmla="*/ 18438 h 21309"/>
                    <a:gd name="connsiteX2" fmla="*/ 13 w 104580"/>
                    <a:gd name="connsiteY2" fmla="*/ 18018 h 21309"/>
                    <a:gd name="connsiteX3" fmla="*/ 51133 w 104580"/>
                    <a:gd name="connsiteY3" fmla="*/ 2871 h 21309"/>
                    <a:gd name="connsiteX4" fmla="*/ 104568 w 104580"/>
                    <a:gd name="connsiteY4" fmla="*/ 3292 h 213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4580" h="21309">
                      <a:moveTo>
                        <a:pt x="104568" y="3292"/>
                      </a:moveTo>
                      <a:cubicBezTo>
                        <a:pt x="105199" y="7499"/>
                        <a:pt x="82269" y="14231"/>
                        <a:pt x="53447" y="18438"/>
                      </a:cubicBezTo>
                      <a:cubicBezTo>
                        <a:pt x="24416" y="22436"/>
                        <a:pt x="644" y="22225"/>
                        <a:pt x="13" y="18018"/>
                      </a:cubicBezTo>
                      <a:cubicBezTo>
                        <a:pt x="-618" y="13810"/>
                        <a:pt x="22312" y="7078"/>
                        <a:pt x="51133" y="2871"/>
                      </a:cubicBezTo>
                      <a:cubicBezTo>
                        <a:pt x="79954" y="-1126"/>
                        <a:pt x="103937" y="-916"/>
                        <a:pt x="104568" y="3292"/>
                      </a:cubicBezTo>
                      <a:close/>
                    </a:path>
                  </a:pathLst>
                </a:custGeom>
                <a:solidFill>
                  <a:srgbClr val="263238"/>
                </a:solidFill>
                <a:ln w="2102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6" name="Freeform: Shape 65">
                  <a:extLst>
                    <a:ext uri="{FF2B5EF4-FFF2-40B4-BE49-F238E27FC236}">
                      <a16:creationId xmlns:a16="http://schemas.microsoft.com/office/drawing/2014/main" xmlns="" id="{631A7600-F623-4B50-AF67-703A70C11D34}"/>
                    </a:ext>
                  </a:extLst>
                </p:cNvPr>
                <p:cNvSpPr/>
                <p:nvPr/>
              </p:nvSpPr>
              <p:spPr>
                <a:xfrm>
                  <a:off x="5093922" y="5036934"/>
                  <a:ext cx="104401" cy="20695"/>
                </a:xfrm>
                <a:custGeom>
                  <a:avLst/>
                  <a:gdLst>
                    <a:gd name="connsiteX0" fmla="*/ 104350 w 104401"/>
                    <a:gd name="connsiteY0" fmla="*/ 1925 h 20695"/>
                    <a:gd name="connsiteX1" fmla="*/ 53440 w 104401"/>
                    <a:gd name="connsiteY1" fmla="*/ 19596 h 20695"/>
                    <a:gd name="connsiteX2" fmla="*/ 5 w 104401"/>
                    <a:gd name="connsiteY2" fmla="*/ 13706 h 20695"/>
                    <a:gd name="connsiteX3" fmla="*/ 51757 w 104401"/>
                    <a:gd name="connsiteY3" fmla="*/ 4239 h 20695"/>
                    <a:gd name="connsiteX4" fmla="*/ 104350 w 104401"/>
                    <a:gd name="connsiteY4" fmla="*/ 1925 h 206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4401" h="20695">
                      <a:moveTo>
                        <a:pt x="104350" y="1925"/>
                      </a:moveTo>
                      <a:cubicBezTo>
                        <a:pt x="105613" y="5922"/>
                        <a:pt x="83313" y="16230"/>
                        <a:pt x="53440" y="19596"/>
                      </a:cubicBezTo>
                      <a:cubicBezTo>
                        <a:pt x="23567" y="22962"/>
                        <a:pt x="-415" y="17913"/>
                        <a:pt x="5" y="13706"/>
                      </a:cubicBezTo>
                      <a:cubicBezTo>
                        <a:pt x="216" y="9288"/>
                        <a:pt x="23567" y="7605"/>
                        <a:pt x="51757" y="4239"/>
                      </a:cubicBezTo>
                      <a:cubicBezTo>
                        <a:pt x="79947" y="1294"/>
                        <a:pt x="103088" y="-2283"/>
                        <a:pt x="104350" y="1925"/>
                      </a:cubicBezTo>
                      <a:close/>
                    </a:path>
                  </a:pathLst>
                </a:custGeom>
                <a:solidFill>
                  <a:srgbClr val="263238"/>
                </a:solidFill>
                <a:ln w="2102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7" name="Freeform: Shape 66">
                  <a:extLst>
                    <a:ext uri="{FF2B5EF4-FFF2-40B4-BE49-F238E27FC236}">
                      <a16:creationId xmlns:a16="http://schemas.microsoft.com/office/drawing/2014/main" xmlns="" id="{D40A1F0F-B32B-48EE-806B-9798A7095050}"/>
                    </a:ext>
                  </a:extLst>
                </p:cNvPr>
                <p:cNvSpPr/>
                <p:nvPr/>
              </p:nvSpPr>
              <p:spPr>
                <a:xfrm>
                  <a:off x="5260115" y="4892114"/>
                  <a:ext cx="83166" cy="18352"/>
                </a:xfrm>
                <a:custGeom>
                  <a:avLst/>
                  <a:gdLst>
                    <a:gd name="connsiteX0" fmla="*/ 83104 w 83166"/>
                    <a:gd name="connsiteY0" fmla="*/ 2429 h 18352"/>
                    <a:gd name="connsiteX1" fmla="*/ 42713 w 83166"/>
                    <a:gd name="connsiteY1" fmla="*/ 17786 h 18352"/>
                    <a:gd name="connsiteX2" fmla="*/ 7 w 83166"/>
                    <a:gd name="connsiteY2" fmla="*/ 10634 h 18352"/>
                    <a:gd name="connsiteX3" fmla="*/ 41240 w 83166"/>
                    <a:gd name="connsiteY3" fmla="*/ 2429 h 18352"/>
                    <a:gd name="connsiteX4" fmla="*/ 83104 w 83166"/>
                    <a:gd name="connsiteY4" fmla="*/ 2429 h 183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3166" h="18352">
                      <a:moveTo>
                        <a:pt x="83104" y="2429"/>
                      </a:moveTo>
                      <a:cubicBezTo>
                        <a:pt x="84366" y="6426"/>
                        <a:pt x="66485" y="15472"/>
                        <a:pt x="42713" y="17786"/>
                      </a:cubicBezTo>
                      <a:cubicBezTo>
                        <a:pt x="18730" y="20101"/>
                        <a:pt x="-414" y="14841"/>
                        <a:pt x="7" y="10634"/>
                      </a:cubicBezTo>
                      <a:cubicBezTo>
                        <a:pt x="428" y="6216"/>
                        <a:pt x="18940" y="4533"/>
                        <a:pt x="41240" y="2429"/>
                      </a:cubicBezTo>
                      <a:cubicBezTo>
                        <a:pt x="63539" y="325"/>
                        <a:pt x="81842" y="-1778"/>
                        <a:pt x="83104" y="2429"/>
                      </a:cubicBezTo>
                      <a:close/>
                    </a:path>
                  </a:pathLst>
                </a:custGeom>
                <a:solidFill>
                  <a:srgbClr val="263238"/>
                </a:solidFill>
                <a:ln w="2102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8" name="Freeform: Shape 67">
                  <a:extLst>
                    <a:ext uri="{FF2B5EF4-FFF2-40B4-BE49-F238E27FC236}">
                      <a16:creationId xmlns:a16="http://schemas.microsoft.com/office/drawing/2014/main" xmlns="" id="{5CB3FAAE-6BC7-4765-8500-AADB6F9DB9C2}"/>
                    </a:ext>
                  </a:extLst>
                </p:cNvPr>
                <p:cNvSpPr/>
                <p:nvPr/>
              </p:nvSpPr>
              <p:spPr>
                <a:xfrm>
                  <a:off x="5290116" y="4749078"/>
                  <a:ext cx="80960" cy="31539"/>
                </a:xfrm>
                <a:custGeom>
                  <a:avLst/>
                  <a:gdLst>
                    <a:gd name="connsiteX0" fmla="*/ 80872 w 80960"/>
                    <a:gd name="connsiteY0" fmla="*/ 29759 h 31539"/>
                    <a:gd name="connsiteX1" fmla="*/ 37956 w 80960"/>
                    <a:gd name="connsiteY1" fmla="*/ 23027 h 31539"/>
                    <a:gd name="connsiteX2" fmla="*/ 89 w 80960"/>
                    <a:gd name="connsiteY2" fmla="*/ 1780 h 31539"/>
                    <a:gd name="connsiteX3" fmla="*/ 43005 w 80960"/>
                    <a:gd name="connsiteY3" fmla="*/ 8512 h 31539"/>
                    <a:gd name="connsiteX4" fmla="*/ 80872 w 80960"/>
                    <a:gd name="connsiteY4" fmla="*/ 29759 h 315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0960" h="31539">
                      <a:moveTo>
                        <a:pt x="80872" y="29759"/>
                      </a:moveTo>
                      <a:cubicBezTo>
                        <a:pt x="79399" y="33756"/>
                        <a:pt x="60255" y="30811"/>
                        <a:pt x="37956" y="23027"/>
                      </a:cubicBezTo>
                      <a:cubicBezTo>
                        <a:pt x="15656" y="15244"/>
                        <a:pt x="-1384" y="5777"/>
                        <a:pt x="89" y="1780"/>
                      </a:cubicBezTo>
                      <a:cubicBezTo>
                        <a:pt x="1561" y="-2217"/>
                        <a:pt x="20705" y="728"/>
                        <a:pt x="43005" y="8512"/>
                      </a:cubicBezTo>
                      <a:cubicBezTo>
                        <a:pt x="65304" y="16296"/>
                        <a:pt x="82344" y="25762"/>
                        <a:pt x="80872" y="29759"/>
                      </a:cubicBezTo>
                      <a:close/>
                    </a:path>
                  </a:pathLst>
                </a:custGeom>
                <a:solidFill>
                  <a:srgbClr val="263238"/>
                </a:solidFill>
                <a:ln w="2102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9" name="Freeform: Shape 68">
                  <a:extLst>
                    <a:ext uri="{FF2B5EF4-FFF2-40B4-BE49-F238E27FC236}">
                      <a16:creationId xmlns:a16="http://schemas.microsoft.com/office/drawing/2014/main" xmlns="" id="{912FCD8E-365F-4B1F-AD72-0DE4BC5BCF91}"/>
                    </a:ext>
                  </a:extLst>
                </p:cNvPr>
                <p:cNvSpPr/>
                <p:nvPr/>
              </p:nvSpPr>
              <p:spPr>
                <a:xfrm>
                  <a:off x="5389977" y="4606663"/>
                  <a:ext cx="34997" cy="55988"/>
                </a:xfrm>
                <a:custGeom>
                  <a:avLst/>
                  <a:gdLst>
                    <a:gd name="connsiteX0" fmla="*/ 34236 w 34997"/>
                    <a:gd name="connsiteY0" fmla="*/ 55418 h 55988"/>
                    <a:gd name="connsiteX1" fmla="*/ 8570 w 34997"/>
                    <a:gd name="connsiteY1" fmla="*/ 33329 h 55988"/>
                    <a:gd name="connsiteX2" fmla="*/ 2259 w 34997"/>
                    <a:gd name="connsiteY2" fmla="*/ 90 h 55988"/>
                    <a:gd name="connsiteX3" fmla="*/ 22034 w 34997"/>
                    <a:gd name="connsiteY3" fmla="*/ 25545 h 55988"/>
                    <a:gd name="connsiteX4" fmla="*/ 34236 w 34997"/>
                    <a:gd name="connsiteY4" fmla="*/ 55418 h 559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997" h="55988">
                      <a:moveTo>
                        <a:pt x="34236" y="55418"/>
                      </a:moveTo>
                      <a:cubicBezTo>
                        <a:pt x="31290" y="58363"/>
                        <a:pt x="18037" y="49738"/>
                        <a:pt x="8570" y="33329"/>
                      </a:cubicBezTo>
                      <a:cubicBezTo>
                        <a:pt x="-897" y="16920"/>
                        <a:pt x="-1738" y="1142"/>
                        <a:pt x="2259" y="90"/>
                      </a:cubicBezTo>
                      <a:cubicBezTo>
                        <a:pt x="6466" y="-1172"/>
                        <a:pt x="13619" y="11029"/>
                        <a:pt x="22034" y="25545"/>
                      </a:cubicBezTo>
                      <a:cubicBezTo>
                        <a:pt x="30239" y="40061"/>
                        <a:pt x="37391" y="52262"/>
                        <a:pt x="34236" y="55418"/>
                      </a:cubicBezTo>
                      <a:close/>
                    </a:path>
                  </a:pathLst>
                </a:custGeom>
                <a:solidFill>
                  <a:srgbClr val="263238"/>
                </a:solidFill>
                <a:ln w="2102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70" name="Freeform: Shape 69">
                  <a:extLst>
                    <a:ext uri="{FF2B5EF4-FFF2-40B4-BE49-F238E27FC236}">
                      <a16:creationId xmlns:a16="http://schemas.microsoft.com/office/drawing/2014/main" xmlns="" id="{63FED851-A2DF-4F4C-9CD5-A5BB23A795CE}"/>
                    </a:ext>
                  </a:extLst>
                </p:cNvPr>
                <p:cNvSpPr/>
                <p:nvPr/>
              </p:nvSpPr>
              <p:spPr>
                <a:xfrm>
                  <a:off x="5288312" y="5138156"/>
                  <a:ext cx="71784" cy="24191"/>
                </a:xfrm>
                <a:custGeom>
                  <a:avLst/>
                  <a:gdLst>
                    <a:gd name="connsiteX0" fmla="*/ 71737 w 71784"/>
                    <a:gd name="connsiteY0" fmla="*/ 2523 h 24191"/>
                    <a:gd name="connsiteX1" fmla="*/ 34501 w 71784"/>
                    <a:gd name="connsiteY1" fmla="*/ 19563 h 24191"/>
                    <a:gd name="connsiteX2" fmla="*/ 3156 w 71784"/>
                    <a:gd name="connsiteY2" fmla="*/ 24191 h 24191"/>
                    <a:gd name="connsiteX3" fmla="*/ 0 w 71784"/>
                    <a:gd name="connsiteY3" fmla="*/ 15145 h 24191"/>
                    <a:gd name="connsiteX4" fmla="*/ 9888 w 71784"/>
                    <a:gd name="connsiteY4" fmla="*/ 15987 h 24191"/>
                    <a:gd name="connsiteX5" fmla="*/ 3787 w 71784"/>
                    <a:gd name="connsiteY5" fmla="*/ 23770 h 24191"/>
                    <a:gd name="connsiteX6" fmla="*/ 631 w 71784"/>
                    <a:gd name="connsiteY6" fmla="*/ 14724 h 24191"/>
                    <a:gd name="connsiteX7" fmla="*/ 30504 w 71784"/>
                    <a:gd name="connsiteY7" fmla="*/ 4416 h 24191"/>
                    <a:gd name="connsiteX8" fmla="*/ 71737 w 71784"/>
                    <a:gd name="connsiteY8" fmla="*/ 2523 h 241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71784" h="24191">
                      <a:moveTo>
                        <a:pt x="71737" y="2523"/>
                      </a:moveTo>
                      <a:cubicBezTo>
                        <a:pt x="72789" y="6730"/>
                        <a:pt x="56170" y="14304"/>
                        <a:pt x="34501" y="19563"/>
                      </a:cubicBezTo>
                      <a:cubicBezTo>
                        <a:pt x="22089" y="22508"/>
                        <a:pt x="10729" y="24191"/>
                        <a:pt x="3156" y="24191"/>
                      </a:cubicBezTo>
                      <a:lnTo>
                        <a:pt x="0" y="15145"/>
                      </a:lnTo>
                      <a:cubicBezTo>
                        <a:pt x="5680" y="14093"/>
                        <a:pt x="9256" y="14304"/>
                        <a:pt x="9888" y="15987"/>
                      </a:cubicBezTo>
                      <a:cubicBezTo>
                        <a:pt x="10519" y="17670"/>
                        <a:pt x="8415" y="20405"/>
                        <a:pt x="3787" y="23770"/>
                      </a:cubicBezTo>
                      <a:lnTo>
                        <a:pt x="631" y="14724"/>
                      </a:lnTo>
                      <a:cubicBezTo>
                        <a:pt x="7153" y="11358"/>
                        <a:pt x="18092" y="7361"/>
                        <a:pt x="30504" y="4416"/>
                      </a:cubicBezTo>
                      <a:cubicBezTo>
                        <a:pt x="52383" y="-633"/>
                        <a:pt x="70685" y="-1474"/>
                        <a:pt x="71737" y="2523"/>
                      </a:cubicBezTo>
                      <a:close/>
                    </a:path>
                  </a:pathLst>
                </a:custGeom>
                <a:solidFill>
                  <a:srgbClr val="263238"/>
                </a:solidFill>
                <a:ln w="2102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71" name="Freeform: Shape 70">
                  <a:extLst>
                    <a:ext uri="{FF2B5EF4-FFF2-40B4-BE49-F238E27FC236}">
                      <a16:creationId xmlns:a16="http://schemas.microsoft.com/office/drawing/2014/main" xmlns="" id="{0E8F4FA4-90E7-4FE1-900B-C56099A60E84}"/>
                    </a:ext>
                  </a:extLst>
                </p:cNvPr>
                <p:cNvSpPr/>
                <p:nvPr/>
              </p:nvSpPr>
              <p:spPr>
                <a:xfrm>
                  <a:off x="5289292" y="5344512"/>
                  <a:ext cx="100702" cy="42110"/>
                </a:xfrm>
                <a:custGeom>
                  <a:avLst/>
                  <a:gdLst>
                    <a:gd name="connsiteX0" fmla="*/ 100630 w 100702"/>
                    <a:gd name="connsiteY0" fmla="*/ 1280 h 42110"/>
                    <a:gd name="connsiteX1" fmla="*/ 53086 w 100702"/>
                    <a:gd name="connsiteY1" fmla="*/ 28208 h 42110"/>
                    <a:gd name="connsiteX2" fmla="*/ 72 w 100702"/>
                    <a:gd name="connsiteY2" fmla="*/ 40830 h 42110"/>
                    <a:gd name="connsiteX3" fmla="*/ 47616 w 100702"/>
                    <a:gd name="connsiteY3" fmla="*/ 13903 h 42110"/>
                    <a:gd name="connsiteX4" fmla="*/ 100630 w 100702"/>
                    <a:gd name="connsiteY4" fmla="*/ 1280 h 421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0702" h="42110">
                      <a:moveTo>
                        <a:pt x="100630" y="1280"/>
                      </a:moveTo>
                      <a:cubicBezTo>
                        <a:pt x="102103" y="5277"/>
                        <a:pt x="80855" y="17269"/>
                        <a:pt x="53086" y="28208"/>
                      </a:cubicBezTo>
                      <a:cubicBezTo>
                        <a:pt x="25317" y="39147"/>
                        <a:pt x="1545" y="44827"/>
                        <a:pt x="72" y="40830"/>
                      </a:cubicBezTo>
                      <a:cubicBezTo>
                        <a:pt x="-1400" y="36833"/>
                        <a:pt x="19847" y="24842"/>
                        <a:pt x="47616" y="13903"/>
                      </a:cubicBezTo>
                      <a:cubicBezTo>
                        <a:pt x="75386" y="2963"/>
                        <a:pt x="99158" y="-2717"/>
                        <a:pt x="100630" y="1280"/>
                      </a:cubicBezTo>
                      <a:close/>
                    </a:path>
                  </a:pathLst>
                </a:custGeom>
                <a:solidFill>
                  <a:srgbClr val="263238"/>
                </a:solidFill>
                <a:ln w="2102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72" name="Freeform: Shape 71">
                  <a:extLst>
                    <a:ext uri="{FF2B5EF4-FFF2-40B4-BE49-F238E27FC236}">
                      <a16:creationId xmlns:a16="http://schemas.microsoft.com/office/drawing/2014/main" xmlns="" id="{FF81EC18-2160-4225-8F97-050EC69B18E0}"/>
                    </a:ext>
                  </a:extLst>
                </p:cNvPr>
                <p:cNvSpPr/>
                <p:nvPr/>
              </p:nvSpPr>
              <p:spPr>
                <a:xfrm>
                  <a:off x="5157776" y="5252605"/>
                  <a:ext cx="68369" cy="27425"/>
                </a:xfrm>
                <a:custGeom>
                  <a:avLst/>
                  <a:gdLst>
                    <a:gd name="connsiteX0" fmla="*/ 68265 w 68369"/>
                    <a:gd name="connsiteY0" fmla="*/ 2096 h 27425"/>
                    <a:gd name="connsiteX1" fmla="*/ 36709 w 68369"/>
                    <a:gd name="connsiteY1" fmla="*/ 21029 h 27425"/>
                    <a:gd name="connsiteX2" fmla="*/ 104 w 68369"/>
                    <a:gd name="connsiteY2" fmla="*/ 25237 h 27425"/>
                    <a:gd name="connsiteX3" fmla="*/ 31660 w 68369"/>
                    <a:gd name="connsiteY3" fmla="*/ 6303 h 27425"/>
                    <a:gd name="connsiteX4" fmla="*/ 68265 w 68369"/>
                    <a:gd name="connsiteY4" fmla="*/ 2096 h 274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8369" h="27425">
                      <a:moveTo>
                        <a:pt x="68265" y="2096"/>
                      </a:moveTo>
                      <a:cubicBezTo>
                        <a:pt x="69738" y="6093"/>
                        <a:pt x="55432" y="14718"/>
                        <a:pt x="36709" y="21029"/>
                      </a:cubicBezTo>
                      <a:cubicBezTo>
                        <a:pt x="17776" y="27340"/>
                        <a:pt x="1366" y="29444"/>
                        <a:pt x="104" y="25237"/>
                      </a:cubicBezTo>
                      <a:cubicBezTo>
                        <a:pt x="-1368" y="21240"/>
                        <a:pt x="12937" y="12614"/>
                        <a:pt x="31660" y="6303"/>
                      </a:cubicBezTo>
                      <a:cubicBezTo>
                        <a:pt x="50594" y="-8"/>
                        <a:pt x="67003" y="-1901"/>
                        <a:pt x="68265" y="2096"/>
                      </a:cubicBezTo>
                      <a:close/>
                    </a:path>
                  </a:pathLst>
                </a:custGeom>
                <a:solidFill>
                  <a:srgbClr val="263238"/>
                </a:solidFill>
                <a:ln w="2102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73" name="Freeform: Shape 72">
                  <a:extLst>
                    <a:ext uri="{FF2B5EF4-FFF2-40B4-BE49-F238E27FC236}">
                      <a16:creationId xmlns:a16="http://schemas.microsoft.com/office/drawing/2014/main" xmlns="" id="{482E0051-4F4F-4167-A6D4-B410E046FAF4}"/>
                    </a:ext>
                  </a:extLst>
                </p:cNvPr>
                <p:cNvSpPr/>
                <p:nvPr/>
              </p:nvSpPr>
              <p:spPr>
                <a:xfrm>
                  <a:off x="5137144" y="4800217"/>
                  <a:ext cx="101555" cy="38958"/>
                </a:xfrm>
                <a:custGeom>
                  <a:avLst/>
                  <a:gdLst>
                    <a:gd name="connsiteX0" fmla="*/ 101520 w 101555"/>
                    <a:gd name="connsiteY0" fmla="*/ 37104 h 38958"/>
                    <a:gd name="connsiteX1" fmla="*/ 47454 w 101555"/>
                    <a:gd name="connsiteY1" fmla="*/ 28689 h 38958"/>
                    <a:gd name="connsiteX2" fmla="*/ 121 w 101555"/>
                    <a:gd name="connsiteY2" fmla="*/ 1130 h 38958"/>
                    <a:gd name="connsiteX3" fmla="*/ 52714 w 101555"/>
                    <a:gd name="connsiteY3" fmla="*/ 13963 h 38958"/>
                    <a:gd name="connsiteX4" fmla="*/ 101520 w 101555"/>
                    <a:gd name="connsiteY4" fmla="*/ 37104 h 389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1555" h="38958">
                      <a:moveTo>
                        <a:pt x="101520" y="37104"/>
                      </a:moveTo>
                      <a:cubicBezTo>
                        <a:pt x="100468" y="41101"/>
                        <a:pt x="75855" y="38787"/>
                        <a:pt x="47454" y="28689"/>
                      </a:cubicBezTo>
                      <a:cubicBezTo>
                        <a:pt x="18844" y="18591"/>
                        <a:pt x="-1773" y="4917"/>
                        <a:pt x="121" y="1130"/>
                      </a:cubicBezTo>
                      <a:cubicBezTo>
                        <a:pt x="2014" y="-2867"/>
                        <a:pt x="24945" y="4286"/>
                        <a:pt x="52714" y="13963"/>
                      </a:cubicBezTo>
                      <a:cubicBezTo>
                        <a:pt x="80062" y="23851"/>
                        <a:pt x="102572" y="32897"/>
                        <a:pt x="101520" y="37104"/>
                      </a:cubicBezTo>
                      <a:close/>
                    </a:path>
                  </a:pathLst>
                </a:custGeom>
                <a:solidFill>
                  <a:srgbClr val="263238"/>
                </a:solidFill>
                <a:ln w="2102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74" name="Freeform: Shape 73">
                  <a:extLst>
                    <a:ext uri="{FF2B5EF4-FFF2-40B4-BE49-F238E27FC236}">
                      <a16:creationId xmlns:a16="http://schemas.microsoft.com/office/drawing/2014/main" xmlns="" id="{0B6DB47F-F258-46AF-B4B0-6F6BB290D5D0}"/>
                    </a:ext>
                  </a:extLst>
                </p:cNvPr>
                <p:cNvSpPr/>
                <p:nvPr/>
              </p:nvSpPr>
              <p:spPr>
                <a:xfrm>
                  <a:off x="5564490" y="4791205"/>
                  <a:ext cx="70978" cy="48265"/>
                </a:xfrm>
                <a:custGeom>
                  <a:avLst/>
                  <a:gdLst>
                    <a:gd name="connsiteX0" fmla="*/ 70727 w 70978"/>
                    <a:gd name="connsiteY0" fmla="*/ 886 h 48265"/>
                    <a:gd name="connsiteX1" fmla="*/ 39802 w 70978"/>
                    <a:gd name="connsiteY1" fmla="*/ 30549 h 48265"/>
                    <a:gd name="connsiteX2" fmla="*/ 252 w 70978"/>
                    <a:gd name="connsiteY2" fmla="*/ 47379 h 48265"/>
                    <a:gd name="connsiteX3" fmla="*/ 31177 w 70978"/>
                    <a:gd name="connsiteY3" fmla="*/ 17716 h 48265"/>
                    <a:gd name="connsiteX4" fmla="*/ 70727 w 70978"/>
                    <a:gd name="connsiteY4" fmla="*/ 886 h 482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0978" h="48265">
                      <a:moveTo>
                        <a:pt x="70727" y="886"/>
                      </a:moveTo>
                      <a:cubicBezTo>
                        <a:pt x="73041" y="4463"/>
                        <a:pt x="59156" y="17716"/>
                        <a:pt x="39802" y="30549"/>
                      </a:cubicBezTo>
                      <a:cubicBezTo>
                        <a:pt x="20237" y="43382"/>
                        <a:pt x="2566" y="50955"/>
                        <a:pt x="252" y="47379"/>
                      </a:cubicBezTo>
                      <a:cubicBezTo>
                        <a:pt x="-2062" y="43802"/>
                        <a:pt x="11822" y="30549"/>
                        <a:pt x="31177" y="17716"/>
                      </a:cubicBezTo>
                      <a:cubicBezTo>
                        <a:pt x="50741" y="4883"/>
                        <a:pt x="68413" y="-2690"/>
                        <a:pt x="70727" y="886"/>
                      </a:cubicBezTo>
                      <a:close/>
                    </a:path>
                  </a:pathLst>
                </a:custGeom>
                <a:solidFill>
                  <a:srgbClr val="263238"/>
                </a:solidFill>
                <a:ln w="2102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75" name="Freeform: Shape 74">
                  <a:extLst>
                    <a:ext uri="{FF2B5EF4-FFF2-40B4-BE49-F238E27FC236}">
                      <a16:creationId xmlns:a16="http://schemas.microsoft.com/office/drawing/2014/main" xmlns="" id="{6DF574A2-5935-4ED6-B0C0-0B456A2CFCE0}"/>
                    </a:ext>
                  </a:extLst>
                </p:cNvPr>
                <p:cNvSpPr/>
                <p:nvPr/>
              </p:nvSpPr>
              <p:spPr>
                <a:xfrm>
                  <a:off x="5588269" y="4994544"/>
                  <a:ext cx="68440" cy="20888"/>
                </a:xfrm>
                <a:custGeom>
                  <a:avLst/>
                  <a:gdLst>
                    <a:gd name="connsiteX0" fmla="*/ 68406 w 68440"/>
                    <a:gd name="connsiteY0" fmla="*/ 3292 h 20888"/>
                    <a:gd name="connsiteX1" fmla="*/ 35798 w 68440"/>
                    <a:gd name="connsiteY1" fmla="*/ 18018 h 20888"/>
                    <a:gd name="connsiteX2" fmla="*/ 35 w 68440"/>
                    <a:gd name="connsiteY2" fmla="*/ 17597 h 20888"/>
                    <a:gd name="connsiteX3" fmla="*/ 32643 w 68440"/>
                    <a:gd name="connsiteY3" fmla="*/ 2871 h 20888"/>
                    <a:gd name="connsiteX4" fmla="*/ 68406 w 68440"/>
                    <a:gd name="connsiteY4" fmla="*/ 3292 h 208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8440" h="20888">
                      <a:moveTo>
                        <a:pt x="68406" y="3292"/>
                      </a:moveTo>
                      <a:cubicBezTo>
                        <a:pt x="69247" y="7499"/>
                        <a:pt x="54732" y="14021"/>
                        <a:pt x="35798" y="18018"/>
                      </a:cubicBezTo>
                      <a:cubicBezTo>
                        <a:pt x="16865" y="22015"/>
                        <a:pt x="876" y="21804"/>
                        <a:pt x="35" y="17597"/>
                      </a:cubicBezTo>
                      <a:cubicBezTo>
                        <a:pt x="-807" y="13390"/>
                        <a:pt x="13709" y="6868"/>
                        <a:pt x="32643" y="2871"/>
                      </a:cubicBezTo>
                      <a:cubicBezTo>
                        <a:pt x="51576" y="-1126"/>
                        <a:pt x="67565" y="-916"/>
                        <a:pt x="68406" y="3292"/>
                      </a:cubicBezTo>
                      <a:close/>
                    </a:path>
                  </a:pathLst>
                </a:custGeom>
                <a:solidFill>
                  <a:srgbClr val="263238"/>
                </a:solidFill>
                <a:ln w="2102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76" name="Freeform: Shape 75">
                  <a:extLst>
                    <a:ext uri="{FF2B5EF4-FFF2-40B4-BE49-F238E27FC236}">
                      <a16:creationId xmlns:a16="http://schemas.microsoft.com/office/drawing/2014/main" xmlns="" id="{967CAF87-FFC4-4C20-BD98-C557FFD533C6}"/>
                    </a:ext>
                  </a:extLst>
                </p:cNvPr>
                <p:cNvSpPr/>
                <p:nvPr/>
              </p:nvSpPr>
              <p:spPr>
                <a:xfrm>
                  <a:off x="5594479" y="5187707"/>
                  <a:ext cx="87549" cy="42895"/>
                </a:xfrm>
                <a:custGeom>
                  <a:avLst/>
                  <a:gdLst>
                    <a:gd name="connsiteX0" fmla="*/ 87441 w 87549"/>
                    <a:gd name="connsiteY0" fmla="*/ 41749 h 42895"/>
                    <a:gd name="connsiteX1" fmla="*/ 40528 w 87549"/>
                    <a:gd name="connsiteY1" fmla="*/ 28495 h 42895"/>
                    <a:gd name="connsiteX2" fmla="*/ 136 w 87549"/>
                    <a:gd name="connsiteY2" fmla="*/ 1147 h 42895"/>
                    <a:gd name="connsiteX3" fmla="*/ 47049 w 87549"/>
                    <a:gd name="connsiteY3" fmla="*/ 14400 h 42895"/>
                    <a:gd name="connsiteX4" fmla="*/ 87441 w 87549"/>
                    <a:gd name="connsiteY4" fmla="*/ 41749 h 428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7549" h="42895">
                      <a:moveTo>
                        <a:pt x="87441" y="41749"/>
                      </a:moveTo>
                      <a:cubicBezTo>
                        <a:pt x="85547" y="45535"/>
                        <a:pt x="64720" y="39645"/>
                        <a:pt x="40528" y="28495"/>
                      </a:cubicBezTo>
                      <a:cubicBezTo>
                        <a:pt x="16335" y="17346"/>
                        <a:pt x="-1757" y="5144"/>
                        <a:pt x="136" y="1147"/>
                      </a:cubicBezTo>
                      <a:cubicBezTo>
                        <a:pt x="2029" y="-2640"/>
                        <a:pt x="22856" y="3251"/>
                        <a:pt x="47049" y="14400"/>
                      </a:cubicBezTo>
                      <a:cubicBezTo>
                        <a:pt x="71032" y="25550"/>
                        <a:pt x="89124" y="37752"/>
                        <a:pt x="87441" y="41749"/>
                      </a:cubicBezTo>
                      <a:close/>
                    </a:path>
                  </a:pathLst>
                </a:custGeom>
                <a:solidFill>
                  <a:srgbClr val="263238"/>
                </a:solidFill>
                <a:ln w="2102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77" name="Freeform: Shape 76">
                  <a:extLst>
                    <a:ext uri="{FF2B5EF4-FFF2-40B4-BE49-F238E27FC236}">
                      <a16:creationId xmlns:a16="http://schemas.microsoft.com/office/drawing/2014/main" xmlns="" id="{017A59B3-489C-43E2-BD56-907731728E81}"/>
                    </a:ext>
                  </a:extLst>
                </p:cNvPr>
                <p:cNvSpPr/>
                <p:nvPr/>
              </p:nvSpPr>
              <p:spPr>
                <a:xfrm>
                  <a:off x="5578936" y="5394817"/>
                  <a:ext cx="50513" cy="60360"/>
                </a:xfrm>
                <a:custGeom>
                  <a:avLst/>
                  <a:gdLst>
                    <a:gd name="connsiteX0" fmla="*/ 49759 w 50513"/>
                    <a:gd name="connsiteY0" fmla="*/ 59948 h 60360"/>
                    <a:gd name="connsiteX1" fmla="*/ 19255 w 50513"/>
                    <a:gd name="connsiteY1" fmla="*/ 35124 h 60360"/>
                    <a:gd name="connsiteX2" fmla="*/ 742 w 50513"/>
                    <a:gd name="connsiteY2" fmla="*/ 413 h 60360"/>
                    <a:gd name="connsiteX3" fmla="*/ 31246 w 50513"/>
                    <a:gd name="connsiteY3" fmla="*/ 25237 h 60360"/>
                    <a:gd name="connsiteX4" fmla="*/ 49759 w 50513"/>
                    <a:gd name="connsiteY4" fmla="*/ 59948 h 603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0513" h="60360">
                      <a:moveTo>
                        <a:pt x="49759" y="59948"/>
                      </a:moveTo>
                      <a:cubicBezTo>
                        <a:pt x="46393" y="62683"/>
                        <a:pt x="32719" y="51533"/>
                        <a:pt x="19255" y="35124"/>
                      </a:cubicBezTo>
                      <a:cubicBezTo>
                        <a:pt x="5791" y="18715"/>
                        <a:pt x="-2624" y="3148"/>
                        <a:pt x="742" y="413"/>
                      </a:cubicBezTo>
                      <a:cubicBezTo>
                        <a:pt x="4108" y="-2322"/>
                        <a:pt x="17782" y="8828"/>
                        <a:pt x="31246" y="25237"/>
                      </a:cubicBezTo>
                      <a:cubicBezTo>
                        <a:pt x="44921" y="41646"/>
                        <a:pt x="53125" y="57213"/>
                        <a:pt x="49759" y="59948"/>
                      </a:cubicBezTo>
                      <a:close/>
                    </a:path>
                  </a:pathLst>
                </a:custGeom>
                <a:solidFill>
                  <a:srgbClr val="263238"/>
                </a:solidFill>
                <a:ln w="2102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78" name="Freeform: Shape 77">
                  <a:extLst>
                    <a:ext uri="{FF2B5EF4-FFF2-40B4-BE49-F238E27FC236}">
                      <a16:creationId xmlns:a16="http://schemas.microsoft.com/office/drawing/2014/main" xmlns="" id="{D983B338-FB2E-4874-A8ED-AAB531DEB332}"/>
                    </a:ext>
                  </a:extLst>
                </p:cNvPr>
                <p:cNvSpPr/>
                <p:nvPr/>
              </p:nvSpPr>
              <p:spPr>
                <a:xfrm>
                  <a:off x="5565066" y="4639343"/>
                  <a:ext cx="53326" cy="30063"/>
                </a:xfrm>
                <a:custGeom>
                  <a:avLst/>
                  <a:gdLst>
                    <a:gd name="connsiteX0" fmla="*/ 52900 w 53326"/>
                    <a:gd name="connsiteY0" fmla="*/ 1069 h 30063"/>
                    <a:gd name="connsiteX1" fmla="*/ 31021 w 53326"/>
                    <a:gd name="connsiteY1" fmla="*/ 23369 h 30063"/>
                    <a:gd name="connsiteX2" fmla="*/ 96 w 53326"/>
                    <a:gd name="connsiteY2" fmla="*/ 27576 h 30063"/>
                    <a:gd name="connsiteX3" fmla="*/ 24078 w 53326"/>
                    <a:gd name="connsiteY3" fmla="*/ 9694 h 30063"/>
                    <a:gd name="connsiteX4" fmla="*/ 52900 w 53326"/>
                    <a:gd name="connsiteY4" fmla="*/ 1069 h 300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3326" h="30063">
                      <a:moveTo>
                        <a:pt x="52900" y="1069"/>
                      </a:moveTo>
                      <a:cubicBezTo>
                        <a:pt x="55424" y="4435"/>
                        <a:pt x="46588" y="15795"/>
                        <a:pt x="31021" y="23369"/>
                      </a:cubicBezTo>
                      <a:cubicBezTo>
                        <a:pt x="15664" y="31153"/>
                        <a:pt x="1148" y="31573"/>
                        <a:pt x="96" y="27576"/>
                      </a:cubicBezTo>
                      <a:cubicBezTo>
                        <a:pt x="-1166" y="23369"/>
                        <a:pt x="10194" y="16637"/>
                        <a:pt x="24078" y="9694"/>
                      </a:cubicBezTo>
                      <a:cubicBezTo>
                        <a:pt x="37963" y="2752"/>
                        <a:pt x="50165" y="-2297"/>
                        <a:pt x="52900" y="1069"/>
                      </a:cubicBezTo>
                      <a:close/>
                    </a:path>
                  </a:pathLst>
                </a:custGeom>
                <a:solidFill>
                  <a:srgbClr val="263238"/>
                </a:solidFill>
                <a:ln w="2102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79" name="Freeform: Shape 78">
                  <a:extLst>
                    <a:ext uri="{FF2B5EF4-FFF2-40B4-BE49-F238E27FC236}">
                      <a16:creationId xmlns:a16="http://schemas.microsoft.com/office/drawing/2014/main" xmlns="" id="{5806C59A-77DB-4EE9-9BCC-08B9142C48ED}"/>
                    </a:ext>
                  </a:extLst>
                </p:cNvPr>
                <p:cNvSpPr/>
                <p:nvPr/>
              </p:nvSpPr>
              <p:spPr>
                <a:xfrm>
                  <a:off x="5726727" y="4846056"/>
                  <a:ext cx="85707" cy="20434"/>
                </a:xfrm>
                <a:custGeom>
                  <a:avLst/>
                  <a:gdLst>
                    <a:gd name="connsiteX0" fmla="*/ 85623 w 85707"/>
                    <a:gd name="connsiteY0" fmla="*/ 1994 h 20434"/>
                    <a:gd name="connsiteX1" fmla="*/ 44390 w 85707"/>
                    <a:gd name="connsiteY1" fmla="*/ 19245 h 20434"/>
                    <a:gd name="connsiteX2" fmla="*/ 2 w 85707"/>
                    <a:gd name="connsiteY2" fmla="*/ 13985 h 20434"/>
                    <a:gd name="connsiteX3" fmla="*/ 42076 w 85707"/>
                    <a:gd name="connsiteY3" fmla="*/ 3887 h 20434"/>
                    <a:gd name="connsiteX4" fmla="*/ 85623 w 85707"/>
                    <a:gd name="connsiteY4" fmla="*/ 1994 h 204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5707" h="20434">
                      <a:moveTo>
                        <a:pt x="85623" y="1994"/>
                      </a:moveTo>
                      <a:cubicBezTo>
                        <a:pt x="87096" y="5991"/>
                        <a:pt x="69004" y="15879"/>
                        <a:pt x="44390" y="19245"/>
                      </a:cubicBezTo>
                      <a:cubicBezTo>
                        <a:pt x="19777" y="22611"/>
                        <a:pt x="-209" y="18193"/>
                        <a:pt x="2" y="13985"/>
                      </a:cubicBezTo>
                      <a:cubicBezTo>
                        <a:pt x="212" y="9568"/>
                        <a:pt x="19356" y="7253"/>
                        <a:pt x="42076" y="3887"/>
                      </a:cubicBezTo>
                      <a:cubicBezTo>
                        <a:pt x="65217" y="732"/>
                        <a:pt x="84151" y="-2003"/>
                        <a:pt x="85623" y="1994"/>
                      </a:cubicBezTo>
                      <a:close/>
                    </a:path>
                  </a:pathLst>
                </a:custGeom>
                <a:solidFill>
                  <a:srgbClr val="263238"/>
                </a:solidFill>
                <a:ln w="2102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0" name="Freeform: Shape 79">
                  <a:extLst>
                    <a:ext uri="{FF2B5EF4-FFF2-40B4-BE49-F238E27FC236}">
                      <a16:creationId xmlns:a16="http://schemas.microsoft.com/office/drawing/2014/main" xmlns="" id="{FA13A0CB-75A0-44E4-B506-68E98CB36B58}"/>
                    </a:ext>
                  </a:extLst>
                </p:cNvPr>
                <p:cNvSpPr/>
                <p:nvPr/>
              </p:nvSpPr>
              <p:spPr>
                <a:xfrm>
                  <a:off x="5684219" y="4660482"/>
                  <a:ext cx="89560" cy="32567"/>
                </a:xfrm>
                <a:custGeom>
                  <a:avLst/>
                  <a:gdLst>
                    <a:gd name="connsiteX0" fmla="*/ 89423 w 89560"/>
                    <a:gd name="connsiteY0" fmla="*/ 1178 h 32567"/>
                    <a:gd name="connsiteX1" fmla="*/ 47980 w 89560"/>
                    <a:gd name="connsiteY1" fmla="*/ 25791 h 32567"/>
                    <a:gd name="connsiteX2" fmla="*/ 15 w 89560"/>
                    <a:gd name="connsiteY2" fmla="*/ 29789 h 32567"/>
                    <a:gd name="connsiteX3" fmla="*/ 43141 w 89560"/>
                    <a:gd name="connsiteY3" fmla="*/ 11065 h 32567"/>
                    <a:gd name="connsiteX4" fmla="*/ 89423 w 89560"/>
                    <a:gd name="connsiteY4" fmla="*/ 1178 h 325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9560" h="32567">
                      <a:moveTo>
                        <a:pt x="89423" y="1178"/>
                      </a:moveTo>
                      <a:cubicBezTo>
                        <a:pt x="91317" y="4965"/>
                        <a:pt x="73435" y="17587"/>
                        <a:pt x="47980" y="25791"/>
                      </a:cubicBezTo>
                      <a:cubicBezTo>
                        <a:pt x="22525" y="33996"/>
                        <a:pt x="646" y="33996"/>
                        <a:pt x="15" y="29789"/>
                      </a:cubicBezTo>
                      <a:cubicBezTo>
                        <a:pt x="-616" y="25581"/>
                        <a:pt x="19159" y="18849"/>
                        <a:pt x="43141" y="11065"/>
                      </a:cubicBezTo>
                      <a:cubicBezTo>
                        <a:pt x="67334" y="3282"/>
                        <a:pt x="87530" y="-2609"/>
                        <a:pt x="89423" y="1178"/>
                      </a:cubicBezTo>
                      <a:close/>
                    </a:path>
                  </a:pathLst>
                </a:custGeom>
                <a:solidFill>
                  <a:srgbClr val="263238"/>
                </a:solidFill>
                <a:ln w="2102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1" name="Freeform: Shape 80">
                  <a:extLst>
                    <a:ext uri="{FF2B5EF4-FFF2-40B4-BE49-F238E27FC236}">
                      <a16:creationId xmlns:a16="http://schemas.microsoft.com/office/drawing/2014/main" xmlns="" id="{1F27DD34-95D7-49A8-8492-1951F8B0F3B0}"/>
                    </a:ext>
                  </a:extLst>
                </p:cNvPr>
                <p:cNvSpPr/>
                <p:nvPr/>
              </p:nvSpPr>
              <p:spPr>
                <a:xfrm>
                  <a:off x="5724148" y="5111971"/>
                  <a:ext cx="130488" cy="29201"/>
                </a:xfrm>
                <a:custGeom>
                  <a:avLst/>
                  <a:gdLst>
                    <a:gd name="connsiteX0" fmla="*/ 130487 w 130488"/>
                    <a:gd name="connsiteY0" fmla="*/ 24922 h 29201"/>
                    <a:gd name="connsiteX1" fmla="*/ 63168 w 130488"/>
                    <a:gd name="connsiteY1" fmla="*/ 25132 h 29201"/>
                    <a:gd name="connsiteX2" fmla="*/ 56 w 130488"/>
                    <a:gd name="connsiteY2" fmla="*/ 1360 h 29201"/>
                    <a:gd name="connsiteX3" fmla="*/ 65903 w 130488"/>
                    <a:gd name="connsiteY3" fmla="*/ 9985 h 29201"/>
                    <a:gd name="connsiteX4" fmla="*/ 130487 w 130488"/>
                    <a:gd name="connsiteY4" fmla="*/ 24922 h 292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30488" h="29201">
                      <a:moveTo>
                        <a:pt x="130487" y="24922"/>
                      </a:moveTo>
                      <a:cubicBezTo>
                        <a:pt x="130487" y="29129"/>
                        <a:pt x="99983" y="31864"/>
                        <a:pt x="63168" y="25132"/>
                      </a:cubicBezTo>
                      <a:cubicBezTo>
                        <a:pt x="26353" y="18611"/>
                        <a:pt x="-1417" y="5357"/>
                        <a:pt x="56" y="1360"/>
                      </a:cubicBezTo>
                      <a:cubicBezTo>
                        <a:pt x="1529" y="-2847"/>
                        <a:pt x="30350" y="3464"/>
                        <a:pt x="65903" y="9985"/>
                      </a:cubicBezTo>
                      <a:cubicBezTo>
                        <a:pt x="101456" y="16296"/>
                        <a:pt x="130697" y="20504"/>
                        <a:pt x="130487" y="24922"/>
                      </a:cubicBezTo>
                      <a:close/>
                    </a:path>
                  </a:pathLst>
                </a:custGeom>
                <a:solidFill>
                  <a:srgbClr val="263238"/>
                </a:solidFill>
                <a:ln w="2102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2" name="Freeform: Shape 81">
                  <a:extLst>
                    <a:ext uri="{FF2B5EF4-FFF2-40B4-BE49-F238E27FC236}">
                      <a16:creationId xmlns:a16="http://schemas.microsoft.com/office/drawing/2014/main" xmlns="" id="{AD1B8648-519C-43D5-96FB-E0F1562D5B11}"/>
                    </a:ext>
                  </a:extLst>
                </p:cNvPr>
                <p:cNvSpPr/>
                <p:nvPr/>
              </p:nvSpPr>
              <p:spPr>
                <a:xfrm>
                  <a:off x="5702068" y="5327210"/>
                  <a:ext cx="80691" cy="80951"/>
                </a:xfrm>
                <a:custGeom>
                  <a:avLst/>
                  <a:gdLst>
                    <a:gd name="connsiteX0" fmla="*/ 80409 w 80691"/>
                    <a:gd name="connsiteY0" fmla="*/ 80432 h 80951"/>
                    <a:gd name="connsiteX1" fmla="*/ 32865 w 80691"/>
                    <a:gd name="connsiteY1" fmla="*/ 47824 h 80951"/>
                    <a:gd name="connsiteX2" fmla="*/ 467 w 80691"/>
                    <a:gd name="connsiteY2" fmla="*/ 280 h 80951"/>
                    <a:gd name="connsiteX3" fmla="*/ 43804 w 80691"/>
                    <a:gd name="connsiteY3" fmla="*/ 37095 h 80951"/>
                    <a:gd name="connsiteX4" fmla="*/ 80409 w 80691"/>
                    <a:gd name="connsiteY4" fmla="*/ 80432 h 809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0691" h="80951">
                      <a:moveTo>
                        <a:pt x="80409" y="80432"/>
                      </a:moveTo>
                      <a:cubicBezTo>
                        <a:pt x="77885" y="83798"/>
                        <a:pt x="55375" y="70544"/>
                        <a:pt x="32865" y="47824"/>
                      </a:cubicBezTo>
                      <a:cubicBezTo>
                        <a:pt x="10355" y="25314"/>
                        <a:pt x="-2688" y="2804"/>
                        <a:pt x="467" y="280"/>
                      </a:cubicBezTo>
                      <a:cubicBezTo>
                        <a:pt x="3833" y="-2455"/>
                        <a:pt x="21925" y="15216"/>
                        <a:pt x="43804" y="37095"/>
                      </a:cubicBezTo>
                      <a:cubicBezTo>
                        <a:pt x="65683" y="58764"/>
                        <a:pt x="83144" y="77066"/>
                        <a:pt x="80409" y="80432"/>
                      </a:cubicBezTo>
                      <a:close/>
                    </a:path>
                  </a:pathLst>
                </a:custGeom>
                <a:solidFill>
                  <a:srgbClr val="263238"/>
                </a:solidFill>
                <a:ln w="2102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3" name="Freeform: Shape 82">
                  <a:extLst>
                    <a:ext uri="{FF2B5EF4-FFF2-40B4-BE49-F238E27FC236}">
                      <a16:creationId xmlns:a16="http://schemas.microsoft.com/office/drawing/2014/main" xmlns="" id="{CEA5C6F6-43BF-442E-90C1-CF1CB98C6C73}"/>
                    </a:ext>
                  </a:extLst>
                </p:cNvPr>
                <p:cNvSpPr/>
                <p:nvPr/>
              </p:nvSpPr>
              <p:spPr>
                <a:xfrm>
                  <a:off x="5141118" y="4441268"/>
                  <a:ext cx="323967" cy="1059367"/>
                </a:xfrm>
                <a:custGeom>
                  <a:avLst/>
                  <a:gdLst>
                    <a:gd name="connsiteX0" fmla="*/ 323907 w 323967"/>
                    <a:gd name="connsiteY0" fmla="*/ 131 h 1059367"/>
                    <a:gd name="connsiteX1" fmla="*/ 188426 w 323967"/>
                    <a:gd name="connsiteY1" fmla="*/ 107211 h 1059367"/>
                    <a:gd name="connsiteX2" fmla="*/ 19497 w 323967"/>
                    <a:gd name="connsiteY2" fmla="*/ 480413 h 1059367"/>
                    <a:gd name="connsiteX3" fmla="*/ 29595 w 323967"/>
                    <a:gd name="connsiteY3" fmla="*/ 709088 h 1059367"/>
                    <a:gd name="connsiteX4" fmla="*/ 72511 w 323967"/>
                    <a:gd name="connsiteY4" fmla="*/ 892533 h 1059367"/>
                    <a:gd name="connsiteX5" fmla="*/ 110168 w 323967"/>
                    <a:gd name="connsiteY5" fmla="*/ 1014339 h 1059367"/>
                    <a:gd name="connsiteX6" fmla="*/ 123211 w 323967"/>
                    <a:gd name="connsiteY6" fmla="*/ 1059359 h 1059367"/>
                    <a:gd name="connsiteX7" fmla="*/ 104488 w 323967"/>
                    <a:gd name="connsiteY7" fmla="*/ 1016232 h 1059367"/>
                    <a:gd name="connsiteX8" fmla="*/ 61992 w 323967"/>
                    <a:gd name="connsiteY8" fmla="*/ 895689 h 1059367"/>
                    <a:gd name="connsiteX9" fmla="*/ 15500 w 323967"/>
                    <a:gd name="connsiteY9" fmla="*/ 711402 h 1059367"/>
                    <a:gd name="connsiteX10" fmla="*/ 3929 w 323967"/>
                    <a:gd name="connsiteY10" fmla="*/ 478519 h 1059367"/>
                    <a:gd name="connsiteX11" fmla="*/ 180222 w 323967"/>
                    <a:gd name="connsiteY11" fmla="*/ 99427 h 1059367"/>
                    <a:gd name="connsiteX12" fmla="*/ 281411 w 323967"/>
                    <a:gd name="connsiteY12" fmla="*/ 20327 h 1059367"/>
                    <a:gd name="connsiteX13" fmla="*/ 312336 w 323967"/>
                    <a:gd name="connsiteY13" fmla="*/ 4339 h 1059367"/>
                    <a:gd name="connsiteX14" fmla="*/ 323907 w 323967"/>
                    <a:gd name="connsiteY14" fmla="*/ 131 h 10593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323967" h="1059367">
                      <a:moveTo>
                        <a:pt x="323907" y="131"/>
                      </a:moveTo>
                      <a:cubicBezTo>
                        <a:pt x="326221" y="3497"/>
                        <a:pt x="262267" y="29373"/>
                        <a:pt x="188426" y="107211"/>
                      </a:cubicBezTo>
                      <a:cubicBezTo>
                        <a:pt x="114586" y="183366"/>
                        <a:pt x="38431" y="318005"/>
                        <a:pt x="19497" y="480413"/>
                      </a:cubicBezTo>
                      <a:cubicBezTo>
                        <a:pt x="10451" y="561196"/>
                        <a:pt x="18235" y="639454"/>
                        <a:pt x="29595" y="709088"/>
                      </a:cubicBezTo>
                      <a:cubicBezTo>
                        <a:pt x="41586" y="778932"/>
                        <a:pt x="57575" y="840992"/>
                        <a:pt x="72511" y="892533"/>
                      </a:cubicBezTo>
                      <a:cubicBezTo>
                        <a:pt x="87447" y="944285"/>
                        <a:pt x="100911" y="985518"/>
                        <a:pt x="110168" y="1014339"/>
                      </a:cubicBezTo>
                      <a:cubicBezTo>
                        <a:pt x="119424" y="1042949"/>
                        <a:pt x="124263" y="1058938"/>
                        <a:pt x="123211" y="1059359"/>
                      </a:cubicBezTo>
                      <a:cubicBezTo>
                        <a:pt x="122159" y="1059779"/>
                        <a:pt x="115427" y="1044422"/>
                        <a:pt x="104488" y="1016232"/>
                      </a:cubicBezTo>
                      <a:cubicBezTo>
                        <a:pt x="93548" y="988042"/>
                        <a:pt x="78401" y="947230"/>
                        <a:pt x="61992" y="895689"/>
                      </a:cubicBezTo>
                      <a:cubicBezTo>
                        <a:pt x="45794" y="844147"/>
                        <a:pt x="28543" y="781877"/>
                        <a:pt x="15500" y="711402"/>
                      </a:cubicBezTo>
                      <a:cubicBezTo>
                        <a:pt x="3088" y="640927"/>
                        <a:pt x="-5327" y="561616"/>
                        <a:pt x="3929" y="478519"/>
                      </a:cubicBezTo>
                      <a:cubicBezTo>
                        <a:pt x="23073" y="312325"/>
                        <a:pt x="102805" y="175162"/>
                        <a:pt x="180222" y="99427"/>
                      </a:cubicBezTo>
                      <a:cubicBezTo>
                        <a:pt x="218720" y="60929"/>
                        <a:pt x="254904" y="35264"/>
                        <a:pt x="281411" y="20327"/>
                      </a:cubicBezTo>
                      <a:cubicBezTo>
                        <a:pt x="294244" y="12123"/>
                        <a:pt x="305394" y="7915"/>
                        <a:pt x="312336" y="4339"/>
                      </a:cubicBezTo>
                      <a:cubicBezTo>
                        <a:pt x="319699" y="1183"/>
                        <a:pt x="323696" y="-500"/>
                        <a:pt x="323907" y="131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2102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4" name="Freeform: Shape 83">
                  <a:extLst>
                    <a:ext uri="{FF2B5EF4-FFF2-40B4-BE49-F238E27FC236}">
                      <a16:creationId xmlns:a16="http://schemas.microsoft.com/office/drawing/2014/main" xmlns="" id="{CB341671-91E3-4342-AEF6-9CA23B96A106}"/>
                    </a:ext>
                  </a:extLst>
                </p:cNvPr>
                <p:cNvSpPr/>
                <p:nvPr/>
              </p:nvSpPr>
              <p:spPr>
                <a:xfrm>
                  <a:off x="5453242" y="4447724"/>
                  <a:ext cx="357406" cy="1063009"/>
                </a:xfrm>
                <a:custGeom>
                  <a:avLst/>
                  <a:gdLst>
                    <a:gd name="connsiteX0" fmla="*/ 222576 w 357406"/>
                    <a:gd name="connsiteY0" fmla="*/ 1063001 h 1063009"/>
                    <a:gd name="connsiteX1" fmla="*/ 291999 w 357406"/>
                    <a:gd name="connsiteY1" fmla="*/ 897016 h 1063009"/>
                    <a:gd name="connsiteX2" fmla="*/ 333653 w 357406"/>
                    <a:gd name="connsiteY2" fmla="*/ 469960 h 1063009"/>
                    <a:gd name="connsiteX3" fmla="*/ 267807 w 357406"/>
                    <a:gd name="connsiteY3" fmla="*/ 242126 h 1063009"/>
                    <a:gd name="connsiteX4" fmla="*/ 155467 w 357406"/>
                    <a:gd name="connsiteY4" fmla="*/ 85819 h 1063009"/>
                    <a:gd name="connsiteX5" fmla="*/ 45442 w 357406"/>
                    <a:gd name="connsiteY5" fmla="*/ 16185 h 1063009"/>
                    <a:gd name="connsiteX6" fmla="*/ 2 w 357406"/>
                    <a:gd name="connsiteY6" fmla="*/ 197 h 1063009"/>
                    <a:gd name="connsiteX7" fmla="*/ 12624 w 357406"/>
                    <a:gd name="connsiteY7" fmla="*/ 1249 h 1063009"/>
                    <a:gd name="connsiteX8" fmla="*/ 47546 w 357406"/>
                    <a:gd name="connsiteY8" fmla="*/ 10716 h 1063009"/>
                    <a:gd name="connsiteX9" fmla="*/ 162620 w 357406"/>
                    <a:gd name="connsiteY9" fmla="*/ 77614 h 1063009"/>
                    <a:gd name="connsiteX10" fmla="*/ 280639 w 357406"/>
                    <a:gd name="connsiteY10" fmla="*/ 236025 h 1063009"/>
                    <a:gd name="connsiteX11" fmla="*/ 349010 w 357406"/>
                    <a:gd name="connsiteY11" fmla="*/ 467856 h 1063009"/>
                    <a:gd name="connsiteX12" fmla="*/ 302518 w 357406"/>
                    <a:gd name="connsiteY12" fmla="*/ 900593 h 1063009"/>
                    <a:gd name="connsiteX13" fmla="*/ 274118 w 357406"/>
                    <a:gd name="connsiteY13" fmla="*/ 970857 h 1063009"/>
                    <a:gd name="connsiteX14" fmla="*/ 248452 w 357406"/>
                    <a:gd name="connsiteY14" fmla="*/ 1021767 h 1063009"/>
                    <a:gd name="connsiteX15" fmla="*/ 222576 w 357406"/>
                    <a:gd name="connsiteY15" fmla="*/ 1063001 h 10630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357406" h="1063009">
                      <a:moveTo>
                        <a:pt x="222576" y="1063001"/>
                      </a:moveTo>
                      <a:cubicBezTo>
                        <a:pt x="219210" y="1061318"/>
                        <a:pt x="257288" y="1002624"/>
                        <a:pt x="291999" y="897016"/>
                      </a:cubicBezTo>
                      <a:cubicBezTo>
                        <a:pt x="327763" y="792671"/>
                        <a:pt x="357425" y="637837"/>
                        <a:pt x="333653" y="469960"/>
                      </a:cubicBezTo>
                      <a:cubicBezTo>
                        <a:pt x="322504" y="386231"/>
                        <a:pt x="298311" y="308604"/>
                        <a:pt x="267807" y="242126"/>
                      </a:cubicBezTo>
                      <a:cubicBezTo>
                        <a:pt x="236251" y="176700"/>
                        <a:pt x="195438" y="123055"/>
                        <a:pt x="155467" y="85819"/>
                      </a:cubicBezTo>
                      <a:cubicBezTo>
                        <a:pt x="114234" y="49424"/>
                        <a:pt x="73632" y="28387"/>
                        <a:pt x="45442" y="16185"/>
                      </a:cubicBezTo>
                      <a:cubicBezTo>
                        <a:pt x="16832" y="4194"/>
                        <a:pt x="-208" y="1459"/>
                        <a:pt x="2" y="197"/>
                      </a:cubicBezTo>
                      <a:cubicBezTo>
                        <a:pt x="2" y="-224"/>
                        <a:pt x="4420" y="-13"/>
                        <a:pt x="12624" y="1249"/>
                      </a:cubicBezTo>
                      <a:cubicBezTo>
                        <a:pt x="20829" y="2721"/>
                        <a:pt x="32820" y="5456"/>
                        <a:pt x="47546" y="10716"/>
                      </a:cubicBezTo>
                      <a:cubicBezTo>
                        <a:pt x="76998" y="21445"/>
                        <a:pt x="119073" y="41009"/>
                        <a:pt x="162620" y="77614"/>
                      </a:cubicBezTo>
                      <a:cubicBezTo>
                        <a:pt x="205115" y="115481"/>
                        <a:pt x="247190" y="168916"/>
                        <a:pt x="280639" y="236025"/>
                      </a:cubicBezTo>
                      <a:cubicBezTo>
                        <a:pt x="312616" y="303555"/>
                        <a:pt x="337650" y="382444"/>
                        <a:pt x="349010" y="467856"/>
                      </a:cubicBezTo>
                      <a:cubicBezTo>
                        <a:pt x="373203" y="638889"/>
                        <a:pt x="341227" y="796037"/>
                        <a:pt x="302518" y="900593"/>
                      </a:cubicBezTo>
                      <a:cubicBezTo>
                        <a:pt x="293682" y="927310"/>
                        <a:pt x="282533" y="950241"/>
                        <a:pt x="274118" y="970857"/>
                      </a:cubicBezTo>
                      <a:cubicBezTo>
                        <a:pt x="264230" y="990843"/>
                        <a:pt x="256026" y="1008093"/>
                        <a:pt x="248452" y="1021767"/>
                      </a:cubicBezTo>
                      <a:cubicBezTo>
                        <a:pt x="232674" y="1048906"/>
                        <a:pt x="223418" y="1063421"/>
                        <a:pt x="222576" y="1063001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2102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sp>
            <p:nvSpPr>
              <p:cNvPr id="85" name="Freeform: Shape 84">
                <a:extLst>
                  <a:ext uri="{FF2B5EF4-FFF2-40B4-BE49-F238E27FC236}">
                    <a16:creationId xmlns:a16="http://schemas.microsoft.com/office/drawing/2014/main" xmlns="" id="{444EF9B0-B06E-4929-866B-D621316D22DA}"/>
                  </a:ext>
                </a:extLst>
              </p:cNvPr>
              <p:cNvSpPr/>
              <p:nvPr/>
            </p:nvSpPr>
            <p:spPr>
              <a:xfrm>
                <a:off x="5076887" y="5474120"/>
                <a:ext cx="857690" cy="170612"/>
              </a:xfrm>
              <a:custGeom>
                <a:avLst/>
                <a:gdLst>
                  <a:gd name="connsiteX0" fmla="*/ 0 w 857690"/>
                  <a:gd name="connsiteY0" fmla="*/ 0 h 170612"/>
                  <a:gd name="connsiteX1" fmla="*/ 852431 w 857690"/>
                  <a:gd name="connsiteY1" fmla="*/ 0 h 170612"/>
                  <a:gd name="connsiteX2" fmla="*/ 857690 w 857690"/>
                  <a:gd name="connsiteY2" fmla="*/ 170612 h 170612"/>
                  <a:gd name="connsiteX3" fmla="*/ 0 w 857690"/>
                  <a:gd name="connsiteY3" fmla="*/ 170612 h 1706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57690" h="170612">
                    <a:moveTo>
                      <a:pt x="0" y="0"/>
                    </a:moveTo>
                    <a:lnTo>
                      <a:pt x="852431" y="0"/>
                    </a:lnTo>
                    <a:lnTo>
                      <a:pt x="857690" y="170612"/>
                    </a:lnTo>
                    <a:lnTo>
                      <a:pt x="0" y="170612"/>
                    </a:lnTo>
                    <a:close/>
                  </a:path>
                </a:pathLst>
              </a:custGeom>
              <a:solidFill>
                <a:srgbClr val="263238"/>
              </a:solidFill>
              <a:ln w="210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6" name="Freeform: Shape 85">
                <a:extLst>
                  <a:ext uri="{FF2B5EF4-FFF2-40B4-BE49-F238E27FC236}">
                    <a16:creationId xmlns:a16="http://schemas.microsoft.com/office/drawing/2014/main" xmlns="" id="{1A71A3C1-67BA-475A-A459-65423A6B3A00}"/>
                  </a:ext>
                </a:extLst>
              </p:cNvPr>
              <p:cNvSpPr/>
              <p:nvPr/>
            </p:nvSpPr>
            <p:spPr>
              <a:xfrm>
                <a:off x="5149255" y="5559531"/>
                <a:ext cx="722209" cy="520672"/>
              </a:xfrm>
              <a:custGeom>
                <a:avLst/>
                <a:gdLst>
                  <a:gd name="connsiteX0" fmla="*/ 0 w 722209"/>
                  <a:gd name="connsiteY0" fmla="*/ 0 h 520672"/>
                  <a:gd name="connsiteX1" fmla="*/ 49017 w 722209"/>
                  <a:gd name="connsiteY1" fmla="*/ 520673 h 520672"/>
                  <a:gd name="connsiteX2" fmla="*/ 672141 w 722209"/>
                  <a:gd name="connsiteY2" fmla="*/ 520673 h 520672"/>
                  <a:gd name="connsiteX3" fmla="*/ 722210 w 722209"/>
                  <a:gd name="connsiteY3" fmla="*/ 5680 h 520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22209" h="520672">
                    <a:moveTo>
                      <a:pt x="0" y="0"/>
                    </a:moveTo>
                    <a:lnTo>
                      <a:pt x="49017" y="520673"/>
                    </a:lnTo>
                    <a:lnTo>
                      <a:pt x="672141" y="520673"/>
                    </a:lnTo>
                    <a:lnTo>
                      <a:pt x="722210" y="5680"/>
                    </a:lnTo>
                    <a:close/>
                  </a:path>
                </a:pathLst>
              </a:custGeom>
              <a:solidFill>
                <a:srgbClr val="263238"/>
              </a:solidFill>
              <a:ln w="210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7" name="Freeform: Shape 86">
                <a:extLst>
                  <a:ext uri="{FF2B5EF4-FFF2-40B4-BE49-F238E27FC236}">
                    <a16:creationId xmlns:a16="http://schemas.microsoft.com/office/drawing/2014/main" xmlns="" id="{DAEB0F8C-22AF-4F84-B549-AD620306D99D}"/>
                  </a:ext>
                </a:extLst>
              </p:cNvPr>
              <p:cNvSpPr/>
              <p:nvPr/>
            </p:nvSpPr>
            <p:spPr>
              <a:xfrm>
                <a:off x="5077098" y="5639052"/>
                <a:ext cx="857479" cy="15567"/>
              </a:xfrm>
              <a:custGeom>
                <a:avLst/>
                <a:gdLst>
                  <a:gd name="connsiteX0" fmla="*/ 857480 w 857479"/>
                  <a:gd name="connsiteY0" fmla="*/ 7784 h 15567"/>
                  <a:gd name="connsiteX1" fmla="*/ 428740 w 857479"/>
                  <a:gd name="connsiteY1" fmla="*/ 15568 h 15567"/>
                  <a:gd name="connsiteX2" fmla="*/ 0 w 857479"/>
                  <a:gd name="connsiteY2" fmla="*/ 7784 h 15567"/>
                  <a:gd name="connsiteX3" fmla="*/ 428740 w 857479"/>
                  <a:gd name="connsiteY3" fmla="*/ 0 h 15567"/>
                  <a:gd name="connsiteX4" fmla="*/ 857480 w 857479"/>
                  <a:gd name="connsiteY4" fmla="*/ 7784 h 155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7479" h="15567">
                    <a:moveTo>
                      <a:pt x="857480" y="7784"/>
                    </a:moveTo>
                    <a:cubicBezTo>
                      <a:pt x="857480" y="11991"/>
                      <a:pt x="665409" y="15568"/>
                      <a:pt x="428740" y="15568"/>
                    </a:cubicBezTo>
                    <a:cubicBezTo>
                      <a:pt x="191860" y="15568"/>
                      <a:pt x="0" y="12202"/>
                      <a:pt x="0" y="7784"/>
                    </a:cubicBezTo>
                    <a:cubicBezTo>
                      <a:pt x="0" y="3366"/>
                      <a:pt x="191860" y="0"/>
                      <a:pt x="428740" y="0"/>
                    </a:cubicBezTo>
                    <a:cubicBezTo>
                      <a:pt x="665409" y="0"/>
                      <a:pt x="857480" y="3576"/>
                      <a:pt x="857480" y="7784"/>
                    </a:cubicBezTo>
                    <a:close/>
                  </a:path>
                </a:pathLst>
              </a:custGeom>
              <a:solidFill>
                <a:srgbClr val="455A64"/>
              </a:solidFill>
              <a:ln w="210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8" name="Freeform: Shape 87">
                <a:extLst>
                  <a:ext uri="{FF2B5EF4-FFF2-40B4-BE49-F238E27FC236}">
                    <a16:creationId xmlns:a16="http://schemas.microsoft.com/office/drawing/2014/main" xmlns="" id="{BCB569D4-713E-497E-A142-8C1C6E0FCA6A}"/>
                  </a:ext>
                </a:extLst>
              </p:cNvPr>
              <p:cNvSpPr/>
              <p:nvPr/>
            </p:nvSpPr>
            <p:spPr>
              <a:xfrm>
                <a:off x="5190221" y="5753916"/>
                <a:ext cx="657764" cy="165984"/>
              </a:xfrm>
              <a:custGeom>
                <a:avLst/>
                <a:gdLst>
                  <a:gd name="connsiteX0" fmla="*/ 657683 w 657764"/>
                  <a:gd name="connsiteY0" fmla="*/ 51541 h 165984"/>
                  <a:gd name="connsiteX1" fmla="*/ 639381 w 657764"/>
                  <a:gd name="connsiteY1" fmla="*/ 84149 h 165984"/>
                  <a:gd name="connsiteX2" fmla="*/ 573323 w 657764"/>
                  <a:gd name="connsiteY2" fmla="*/ 162197 h 165984"/>
                  <a:gd name="connsiteX3" fmla="*/ 569326 w 657764"/>
                  <a:gd name="connsiteY3" fmla="*/ 165984 h 165984"/>
                  <a:gd name="connsiteX4" fmla="*/ 565540 w 657764"/>
                  <a:gd name="connsiteY4" fmla="*/ 161987 h 165984"/>
                  <a:gd name="connsiteX5" fmla="*/ 398504 w 657764"/>
                  <a:gd name="connsiteY5" fmla="*/ 15778 h 165984"/>
                  <a:gd name="connsiteX6" fmla="*/ 407970 w 657764"/>
                  <a:gd name="connsiteY6" fmla="*/ 15357 h 165984"/>
                  <a:gd name="connsiteX7" fmla="*/ 333919 w 657764"/>
                  <a:gd name="connsiteY7" fmla="*/ 80362 h 165984"/>
                  <a:gd name="connsiteX8" fmla="*/ 246404 w 657764"/>
                  <a:gd name="connsiteY8" fmla="*/ 156517 h 165984"/>
                  <a:gd name="connsiteX9" fmla="*/ 241566 w 657764"/>
                  <a:gd name="connsiteY9" fmla="*/ 160725 h 165984"/>
                  <a:gd name="connsiteX10" fmla="*/ 236727 w 657764"/>
                  <a:gd name="connsiteY10" fmla="*/ 156728 h 165984"/>
                  <a:gd name="connsiteX11" fmla="*/ 94305 w 657764"/>
                  <a:gd name="connsiteY11" fmla="*/ 37026 h 165984"/>
                  <a:gd name="connsiteX12" fmla="*/ 102509 w 657764"/>
                  <a:gd name="connsiteY12" fmla="*/ 36184 h 165984"/>
                  <a:gd name="connsiteX13" fmla="*/ 28879 w 657764"/>
                  <a:gd name="connsiteY13" fmla="*/ 126013 h 165984"/>
                  <a:gd name="connsiteX14" fmla="*/ 58 w 657764"/>
                  <a:gd name="connsiteY14" fmla="*/ 157569 h 165984"/>
                  <a:gd name="connsiteX15" fmla="*/ 23830 w 657764"/>
                  <a:gd name="connsiteY15" fmla="*/ 122016 h 165984"/>
                  <a:gd name="connsiteX16" fmla="*/ 93463 w 657764"/>
                  <a:gd name="connsiteY16" fmla="*/ 29031 h 165984"/>
                  <a:gd name="connsiteX17" fmla="*/ 97039 w 657764"/>
                  <a:gd name="connsiteY17" fmla="*/ 24193 h 165984"/>
                  <a:gd name="connsiteX18" fmla="*/ 101878 w 657764"/>
                  <a:gd name="connsiteY18" fmla="*/ 27979 h 165984"/>
                  <a:gd name="connsiteX19" fmla="*/ 246404 w 657764"/>
                  <a:gd name="connsiteY19" fmla="*/ 145157 h 165984"/>
                  <a:gd name="connsiteX20" fmla="*/ 236727 w 657764"/>
                  <a:gd name="connsiteY20" fmla="*/ 145368 h 165984"/>
                  <a:gd name="connsiteX21" fmla="*/ 324032 w 657764"/>
                  <a:gd name="connsiteY21" fmla="*/ 68792 h 165984"/>
                  <a:gd name="connsiteX22" fmla="*/ 398293 w 657764"/>
                  <a:gd name="connsiteY22" fmla="*/ 3997 h 165984"/>
                  <a:gd name="connsiteX23" fmla="*/ 402922 w 657764"/>
                  <a:gd name="connsiteY23" fmla="*/ 0 h 165984"/>
                  <a:gd name="connsiteX24" fmla="*/ 407760 w 657764"/>
                  <a:gd name="connsiteY24" fmla="*/ 3576 h 165984"/>
                  <a:gd name="connsiteX25" fmla="*/ 573955 w 657764"/>
                  <a:gd name="connsiteY25" fmla="*/ 154624 h 165984"/>
                  <a:gd name="connsiteX26" fmla="*/ 566171 w 657764"/>
                  <a:gd name="connsiteY26" fmla="*/ 154414 h 165984"/>
                  <a:gd name="connsiteX27" fmla="*/ 657683 w 657764"/>
                  <a:gd name="connsiteY27" fmla="*/ 51541 h 1659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657764" h="165984">
                    <a:moveTo>
                      <a:pt x="657683" y="51541"/>
                    </a:moveTo>
                    <a:cubicBezTo>
                      <a:pt x="658524" y="51962"/>
                      <a:pt x="652844" y="63953"/>
                      <a:pt x="639381" y="84149"/>
                    </a:cubicBezTo>
                    <a:cubicBezTo>
                      <a:pt x="625917" y="104134"/>
                      <a:pt x="604669" y="132114"/>
                      <a:pt x="573323" y="162197"/>
                    </a:cubicBezTo>
                    <a:lnTo>
                      <a:pt x="569326" y="165984"/>
                    </a:lnTo>
                    <a:lnTo>
                      <a:pt x="565540" y="161987"/>
                    </a:lnTo>
                    <a:cubicBezTo>
                      <a:pt x="524517" y="118861"/>
                      <a:pt x="468137" y="66057"/>
                      <a:pt x="398504" y="15778"/>
                    </a:cubicBezTo>
                    <a:lnTo>
                      <a:pt x="407970" y="15357"/>
                    </a:lnTo>
                    <a:cubicBezTo>
                      <a:pt x="384198" y="36184"/>
                      <a:pt x="359374" y="58063"/>
                      <a:pt x="333919" y="80362"/>
                    </a:cubicBezTo>
                    <a:cubicBezTo>
                      <a:pt x="303626" y="106659"/>
                      <a:pt x="274384" y="132325"/>
                      <a:pt x="246404" y="156517"/>
                    </a:cubicBezTo>
                    <a:lnTo>
                      <a:pt x="241566" y="160725"/>
                    </a:lnTo>
                    <a:lnTo>
                      <a:pt x="236727" y="156728"/>
                    </a:lnTo>
                    <a:cubicBezTo>
                      <a:pt x="183713" y="112129"/>
                      <a:pt x="135327" y="71527"/>
                      <a:pt x="94305" y="37026"/>
                    </a:cubicBezTo>
                    <a:lnTo>
                      <a:pt x="102509" y="36184"/>
                    </a:lnTo>
                    <a:cubicBezTo>
                      <a:pt x="73057" y="72158"/>
                      <a:pt x="48443" y="102241"/>
                      <a:pt x="28879" y="126013"/>
                    </a:cubicBezTo>
                    <a:cubicBezTo>
                      <a:pt x="11207" y="147051"/>
                      <a:pt x="899" y="158411"/>
                      <a:pt x="58" y="157569"/>
                    </a:cubicBezTo>
                    <a:cubicBezTo>
                      <a:pt x="-784" y="156938"/>
                      <a:pt x="7631" y="144105"/>
                      <a:pt x="23830" y="122016"/>
                    </a:cubicBezTo>
                    <a:cubicBezTo>
                      <a:pt x="42342" y="97403"/>
                      <a:pt x="65694" y="66057"/>
                      <a:pt x="93463" y="29031"/>
                    </a:cubicBezTo>
                    <a:lnTo>
                      <a:pt x="97039" y="24193"/>
                    </a:lnTo>
                    <a:lnTo>
                      <a:pt x="101878" y="27979"/>
                    </a:lnTo>
                    <a:cubicBezTo>
                      <a:pt x="143532" y="61639"/>
                      <a:pt x="192549" y="101400"/>
                      <a:pt x="246404" y="145157"/>
                    </a:cubicBezTo>
                    <a:lnTo>
                      <a:pt x="236727" y="145368"/>
                    </a:lnTo>
                    <a:cubicBezTo>
                      <a:pt x="264496" y="120964"/>
                      <a:pt x="293738" y="95299"/>
                      <a:pt x="324032" y="68792"/>
                    </a:cubicBezTo>
                    <a:cubicBezTo>
                      <a:pt x="349487" y="46492"/>
                      <a:pt x="374521" y="24824"/>
                      <a:pt x="398293" y="3997"/>
                    </a:cubicBezTo>
                    <a:lnTo>
                      <a:pt x="402922" y="0"/>
                    </a:lnTo>
                    <a:lnTo>
                      <a:pt x="407760" y="3576"/>
                    </a:lnTo>
                    <a:cubicBezTo>
                      <a:pt x="478025" y="55118"/>
                      <a:pt x="533984" y="109604"/>
                      <a:pt x="573955" y="154624"/>
                    </a:cubicBezTo>
                    <a:lnTo>
                      <a:pt x="566171" y="154414"/>
                    </a:lnTo>
                    <a:cubicBezTo>
                      <a:pt x="629072" y="96771"/>
                      <a:pt x="655159" y="49648"/>
                      <a:pt x="657683" y="51541"/>
                    </a:cubicBezTo>
                    <a:close/>
                  </a:path>
                </a:pathLst>
              </a:custGeom>
              <a:solidFill>
                <a:srgbClr val="455A64"/>
              </a:solidFill>
              <a:ln w="210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101" name="Group 100">
            <a:extLst>
              <a:ext uri="{FF2B5EF4-FFF2-40B4-BE49-F238E27FC236}">
                <a16:creationId xmlns:a16="http://schemas.microsoft.com/office/drawing/2014/main" xmlns="" id="{8D52CB1E-1056-405E-9FBD-47B09590D7B1}"/>
              </a:ext>
            </a:extLst>
          </p:cNvPr>
          <p:cNvGrpSpPr/>
          <p:nvPr/>
        </p:nvGrpSpPr>
        <p:grpSpPr>
          <a:xfrm>
            <a:off x="5041446" y="1625600"/>
            <a:ext cx="1092654" cy="1140534"/>
            <a:chOff x="4533446" y="1625600"/>
            <a:chExt cx="1092654" cy="1140534"/>
          </a:xfrm>
        </p:grpSpPr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xmlns="" id="{096F7A5E-5FB1-42C7-B6C1-EF0566161830}"/>
                </a:ext>
              </a:extLst>
            </p:cNvPr>
            <p:cNvSpPr/>
            <p:nvPr/>
          </p:nvSpPr>
          <p:spPr>
            <a:xfrm>
              <a:off x="4558366" y="1625600"/>
              <a:ext cx="459328" cy="459757"/>
            </a:xfrm>
            <a:custGeom>
              <a:avLst/>
              <a:gdLst>
                <a:gd name="connsiteX0" fmla="*/ 51149 w 102203"/>
                <a:gd name="connsiteY0" fmla="*/ 0 h 102298"/>
                <a:gd name="connsiteX1" fmla="*/ 69152 w 102203"/>
                <a:gd name="connsiteY1" fmla="*/ 33052 h 102298"/>
                <a:gd name="connsiteX2" fmla="*/ 102203 w 102203"/>
                <a:gd name="connsiteY2" fmla="*/ 51149 h 102298"/>
                <a:gd name="connsiteX3" fmla="*/ 69152 w 102203"/>
                <a:gd name="connsiteY3" fmla="*/ 69247 h 102298"/>
                <a:gd name="connsiteX4" fmla="*/ 51149 w 102203"/>
                <a:gd name="connsiteY4" fmla="*/ 102299 h 102298"/>
                <a:gd name="connsiteX5" fmla="*/ 33052 w 102203"/>
                <a:gd name="connsiteY5" fmla="*/ 69247 h 102298"/>
                <a:gd name="connsiteX6" fmla="*/ 0 w 102203"/>
                <a:gd name="connsiteY6" fmla="*/ 51149 h 102298"/>
                <a:gd name="connsiteX7" fmla="*/ 33052 w 102203"/>
                <a:gd name="connsiteY7" fmla="*/ 33052 h 102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2203" h="102298">
                  <a:moveTo>
                    <a:pt x="51149" y="0"/>
                  </a:moveTo>
                  <a:lnTo>
                    <a:pt x="69152" y="33052"/>
                  </a:lnTo>
                  <a:lnTo>
                    <a:pt x="102203" y="51149"/>
                  </a:lnTo>
                  <a:lnTo>
                    <a:pt x="69152" y="69247"/>
                  </a:lnTo>
                  <a:lnTo>
                    <a:pt x="51149" y="102299"/>
                  </a:lnTo>
                  <a:lnTo>
                    <a:pt x="33052" y="69247"/>
                  </a:lnTo>
                  <a:lnTo>
                    <a:pt x="0" y="51149"/>
                  </a:lnTo>
                  <a:lnTo>
                    <a:pt x="33052" y="33052"/>
                  </a:lnTo>
                  <a:close/>
                </a:path>
              </a:pathLst>
            </a:custGeom>
            <a:solidFill>
              <a:srgbClr val="26323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xmlns="" id="{EC8B4F24-A259-4972-BD33-C9F685B3FB65}"/>
                </a:ext>
              </a:extLst>
            </p:cNvPr>
            <p:cNvSpPr/>
            <p:nvPr/>
          </p:nvSpPr>
          <p:spPr>
            <a:xfrm>
              <a:off x="5386212" y="2526022"/>
              <a:ext cx="239888" cy="240112"/>
            </a:xfrm>
            <a:custGeom>
              <a:avLst/>
              <a:gdLst>
                <a:gd name="connsiteX0" fmla="*/ 51149 w 102203"/>
                <a:gd name="connsiteY0" fmla="*/ 0 h 102298"/>
                <a:gd name="connsiteX1" fmla="*/ 69152 w 102203"/>
                <a:gd name="connsiteY1" fmla="*/ 33052 h 102298"/>
                <a:gd name="connsiteX2" fmla="*/ 102203 w 102203"/>
                <a:gd name="connsiteY2" fmla="*/ 51149 h 102298"/>
                <a:gd name="connsiteX3" fmla="*/ 69152 w 102203"/>
                <a:gd name="connsiteY3" fmla="*/ 69247 h 102298"/>
                <a:gd name="connsiteX4" fmla="*/ 51149 w 102203"/>
                <a:gd name="connsiteY4" fmla="*/ 102299 h 102298"/>
                <a:gd name="connsiteX5" fmla="*/ 33052 w 102203"/>
                <a:gd name="connsiteY5" fmla="*/ 69247 h 102298"/>
                <a:gd name="connsiteX6" fmla="*/ 0 w 102203"/>
                <a:gd name="connsiteY6" fmla="*/ 51149 h 102298"/>
                <a:gd name="connsiteX7" fmla="*/ 33052 w 102203"/>
                <a:gd name="connsiteY7" fmla="*/ 33052 h 102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2203" h="102298">
                  <a:moveTo>
                    <a:pt x="51149" y="0"/>
                  </a:moveTo>
                  <a:lnTo>
                    <a:pt x="69152" y="33052"/>
                  </a:lnTo>
                  <a:lnTo>
                    <a:pt x="102203" y="51149"/>
                  </a:lnTo>
                  <a:lnTo>
                    <a:pt x="69152" y="69247"/>
                  </a:lnTo>
                  <a:lnTo>
                    <a:pt x="51149" y="102299"/>
                  </a:lnTo>
                  <a:lnTo>
                    <a:pt x="33052" y="69247"/>
                  </a:lnTo>
                  <a:lnTo>
                    <a:pt x="0" y="51149"/>
                  </a:lnTo>
                  <a:lnTo>
                    <a:pt x="33052" y="33052"/>
                  </a:lnTo>
                  <a:close/>
                </a:path>
              </a:pathLst>
            </a:custGeom>
            <a:solidFill>
              <a:srgbClr val="26323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xmlns="" id="{E5D3225C-8790-4EF3-86C9-2030FC3AE778}"/>
                </a:ext>
              </a:extLst>
            </p:cNvPr>
            <p:cNvSpPr/>
            <p:nvPr/>
          </p:nvSpPr>
          <p:spPr>
            <a:xfrm>
              <a:off x="4533446" y="2557553"/>
              <a:ext cx="198255" cy="198440"/>
            </a:xfrm>
            <a:custGeom>
              <a:avLst/>
              <a:gdLst>
                <a:gd name="connsiteX0" fmla="*/ 51149 w 102203"/>
                <a:gd name="connsiteY0" fmla="*/ 0 h 102298"/>
                <a:gd name="connsiteX1" fmla="*/ 69152 w 102203"/>
                <a:gd name="connsiteY1" fmla="*/ 33052 h 102298"/>
                <a:gd name="connsiteX2" fmla="*/ 102203 w 102203"/>
                <a:gd name="connsiteY2" fmla="*/ 51149 h 102298"/>
                <a:gd name="connsiteX3" fmla="*/ 69152 w 102203"/>
                <a:gd name="connsiteY3" fmla="*/ 69247 h 102298"/>
                <a:gd name="connsiteX4" fmla="*/ 51149 w 102203"/>
                <a:gd name="connsiteY4" fmla="*/ 102299 h 102298"/>
                <a:gd name="connsiteX5" fmla="*/ 33052 w 102203"/>
                <a:gd name="connsiteY5" fmla="*/ 69247 h 102298"/>
                <a:gd name="connsiteX6" fmla="*/ 0 w 102203"/>
                <a:gd name="connsiteY6" fmla="*/ 51149 h 102298"/>
                <a:gd name="connsiteX7" fmla="*/ 33052 w 102203"/>
                <a:gd name="connsiteY7" fmla="*/ 33052 h 102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2203" h="102298">
                  <a:moveTo>
                    <a:pt x="51149" y="0"/>
                  </a:moveTo>
                  <a:lnTo>
                    <a:pt x="69152" y="33052"/>
                  </a:lnTo>
                  <a:lnTo>
                    <a:pt x="102203" y="51149"/>
                  </a:lnTo>
                  <a:lnTo>
                    <a:pt x="69152" y="69247"/>
                  </a:lnTo>
                  <a:lnTo>
                    <a:pt x="51149" y="102299"/>
                  </a:lnTo>
                  <a:lnTo>
                    <a:pt x="33052" y="69247"/>
                  </a:lnTo>
                  <a:lnTo>
                    <a:pt x="0" y="51149"/>
                  </a:lnTo>
                  <a:lnTo>
                    <a:pt x="33052" y="33052"/>
                  </a:lnTo>
                  <a:close/>
                </a:path>
              </a:pathLst>
            </a:custGeom>
            <a:solidFill>
              <a:srgbClr val="26323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89" name="Group 88">
            <a:extLst>
              <a:ext uri="{FF2B5EF4-FFF2-40B4-BE49-F238E27FC236}">
                <a16:creationId xmlns:a16="http://schemas.microsoft.com/office/drawing/2014/main" xmlns="" id="{C6A0C91D-0B65-4ED0-838D-B988505F4153}"/>
              </a:ext>
            </a:extLst>
          </p:cNvPr>
          <p:cNvGrpSpPr/>
          <p:nvPr/>
        </p:nvGrpSpPr>
        <p:grpSpPr>
          <a:xfrm rot="10800000">
            <a:off x="9423402" y="-5397"/>
            <a:ext cx="2806699" cy="2531419"/>
            <a:chOff x="-1" y="3428998"/>
            <a:chExt cx="2806701" cy="3429002"/>
          </a:xfrm>
          <a:solidFill>
            <a:srgbClr val="FFD966"/>
          </a:solidFill>
        </p:grpSpPr>
        <p:sp>
          <p:nvSpPr>
            <p:cNvPr id="93" name="Freeform: Shape 29">
              <a:extLst>
                <a:ext uri="{FF2B5EF4-FFF2-40B4-BE49-F238E27FC236}">
                  <a16:creationId xmlns:a16="http://schemas.microsoft.com/office/drawing/2014/main" xmlns="" id="{08DDE8E9-E20E-465C-84A9-C1F5C7A0BBC4}"/>
                </a:ext>
              </a:extLst>
            </p:cNvPr>
            <p:cNvSpPr/>
            <p:nvPr/>
          </p:nvSpPr>
          <p:spPr>
            <a:xfrm rot="10800000">
              <a:off x="0" y="3428998"/>
              <a:ext cx="2806700" cy="3428999"/>
            </a:xfrm>
            <a:custGeom>
              <a:avLst/>
              <a:gdLst>
                <a:gd name="connsiteX0" fmla="*/ 7638322 w 7638321"/>
                <a:gd name="connsiteY0" fmla="*/ 6442439 h 6453339"/>
                <a:gd name="connsiteX1" fmla="*/ 5413115 w 7638321"/>
                <a:gd name="connsiteY1" fmla="*/ 4567004 h 6453339"/>
                <a:gd name="connsiteX2" fmla="*/ 3114623 w 7638321"/>
                <a:gd name="connsiteY2" fmla="*/ 1875436 h 6453339"/>
                <a:gd name="connsiteX3" fmla="*/ 0 w 7638321"/>
                <a:gd name="connsiteY3" fmla="*/ 0 h 6453339"/>
                <a:gd name="connsiteX4" fmla="*/ 7638322 w 7638321"/>
                <a:gd name="connsiteY4" fmla="*/ 0 h 6453339"/>
                <a:gd name="connsiteX5" fmla="*/ 7638322 w 7638321"/>
                <a:gd name="connsiteY5" fmla="*/ 6442439 h 6453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638321" h="6453339">
                  <a:moveTo>
                    <a:pt x="7638322" y="6442439"/>
                  </a:moveTo>
                  <a:cubicBezTo>
                    <a:pt x="7638322" y="6442439"/>
                    <a:pt x="6259226" y="6712263"/>
                    <a:pt x="5413115" y="4567004"/>
                  </a:cubicBezTo>
                  <a:cubicBezTo>
                    <a:pt x="4567004" y="2421744"/>
                    <a:pt x="4413771" y="2361784"/>
                    <a:pt x="3114623" y="1875436"/>
                  </a:cubicBezTo>
                  <a:cubicBezTo>
                    <a:pt x="1815475" y="1389089"/>
                    <a:pt x="786151" y="1359108"/>
                    <a:pt x="0" y="0"/>
                  </a:cubicBezTo>
                  <a:lnTo>
                    <a:pt x="7638322" y="0"/>
                  </a:lnTo>
                  <a:lnTo>
                    <a:pt x="7638322" y="6442439"/>
                  </a:lnTo>
                  <a:close/>
                </a:path>
              </a:pathLst>
            </a:custGeom>
            <a:grpFill/>
            <a:ln w="28107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ID"/>
            </a:p>
          </p:txBody>
        </p:sp>
        <p:sp>
          <p:nvSpPr>
            <p:cNvPr id="97" name="Freeform: Shape 32">
              <a:extLst>
                <a:ext uri="{FF2B5EF4-FFF2-40B4-BE49-F238E27FC236}">
                  <a16:creationId xmlns:a16="http://schemas.microsoft.com/office/drawing/2014/main" xmlns="" id="{487A24B0-E7B8-4505-8F42-E991532BAB0A}"/>
                </a:ext>
              </a:extLst>
            </p:cNvPr>
            <p:cNvSpPr/>
            <p:nvPr/>
          </p:nvSpPr>
          <p:spPr>
            <a:xfrm>
              <a:off x="-1" y="5150234"/>
              <a:ext cx="1320801" cy="1707766"/>
            </a:xfrm>
            <a:custGeom>
              <a:avLst/>
              <a:gdLst>
                <a:gd name="connsiteX0" fmla="*/ 0 w 2445467"/>
                <a:gd name="connsiteY0" fmla="*/ 0 h 2737444"/>
                <a:gd name="connsiteX1" fmla="*/ 64083 w 2445467"/>
                <a:gd name="connsiteY1" fmla="*/ 53704 h 2737444"/>
                <a:gd name="connsiteX2" fmla="*/ 435430 w 2445467"/>
                <a:gd name="connsiteY2" fmla="*/ 465958 h 2737444"/>
                <a:gd name="connsiteX3" fmla="*/ 508001 w 2445467"/>
                <a:gd name="connsiteY3" fmla="*/ 1525501 h 2737444"/>
                <a:gd name="connsiteX4" fmla="*/ 1553030 w 2445467"/>
                <a:gd name="connsiteY4" fmla="*/ 2106073 h 2737444"/>
                <a:gd name="connsiteX5" fmla="*/ 2327730 w 2445467"/>
                <a:gd name="connsiteY5" fmla="*/ 2650359 h 2737444"/>
                <a:gd name="connsiteX6" fmla="*/ 2445467 w 2445467"/>
                <a:gd name="connsiteY6" fmla="*/ 2737444 h 2737444"/>
                <a:gd name="connsiteX7" fmla="*/ 0 w 2445467"/>
                <a:gd name="connsiteY7" fmla="*/ 2737444 h 27374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45467" h="2737444">
                  <a:moveTo>
                    <a:pt x="0" y="0"/>
                  </a:moveTo>
                  <a:lnTo>
                    <a:pt x="64083" y="53704"/>
                  </a:lnTo>
                  <a:cubicBezTo>
                    <a:pt x="222478" y="195970"/>
                    <a:pt x="361952" y="349844"/>
                    <a:pt x="435430" y="465958"/>
                  </a:cubicBezTo>
                  <a:cubicBezTo>
                    <a:pt x="631373" y="775596"/>
                    <a:pt x="321734" y="1252149"/>
                    <a:pt x="508001" y="1525501"/>
                  </a:cubicBezTo>
                  <a:cubicBezTo>
                    <a:pt x="694268" y="1798854"/>
                    <a:pt x="1134535" y="1830302"/>
                    <a:pt x="1553030" y="2106073"/>
                  </a:cubicBezTo>
                  <a:cubicBezTo>
                    <a:pt x="1762278" y="2243959"/>
                    <a:pt x="2051958" y="2448369"/>
                    <a:pt x="2327730" y="2650359"/>
                  </a:cubicBezTo>
                  <a:lnTo>
                    <a:pt x="2445467" y="2737444"/>
                  </a:lnTo>
                  <a:lnTo>
                    <a:pt x="0" y="2737444"/>
                  </a:lnTo>
                  <a:close/>
                </a:path>
              </a:pathLst>
            </a:custGeom>
            <a:grpFill/>
            <a:ln w="44951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9351703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Freeform: Shape 106">
            <a:extLst>
              <a:ext uri="{FF2B5EF4-FFF2-40B4-BE49-F238E27FC236}">
                <a16:creationId xmlns:a16="http://schemas.microsoft.com/office/drawing/2014/main" xmlns="" id="{AFE1D6F8-09C8-416E-9BDB-BBA9C88D8F3C}"/>
              </a:ext>
            </a:extLst>
          </p:cNvPr>
          <p:cNvSpPr/>
          <p:nvPr/>
        </p:nvSpPr>
        <p:spPr>
          <a:xfrm>
            <a:off x="-1" y="2951745"/>
            <a:ext cx="4513005" cy="3906255"/>
          </a:xfrm>
          <a:custGeom>
            <a:avLst/>
            <a:gdLst>
              <a:gd name="connsiteX0" fmla="*/ 0 w 3933758"/>
              <a:gd name="connsiteY0" fmla="*/ 0 h 3404885"/>
              <a:gd name="connsiteX1" fmla="*/ 56108 w 3933758"/>
              <a:gd name="connsiteY1" fmla="*/ 12385 h 3404885"/>
              <a:gd name="connsiteX2" fmla="*/ 619125 w 3933758"/>
              <a:gd name="connsiteY2" fmla="*/ 375935 h 3404885"/>
              <a:gd name="connsiteX3" fmla="*/ 1123950 w 3933758"/>
              <a:gd name="connsiteY3" fmla="*/ 1747535 h 3404885"/>
              <a:gd name="connsiteX4" fmla="*/ 2790825 w 3933758"/>
              <a:gd name="connsiteY4" fmla="*/ 2338085 h 3404885"/>
              <a:gd name="connsiteX5" fmla="*/ 3219450 w 3933758"/>
              <a:gd name="connsiteY5" fmla="*/ 3014360 h 3404885"/>
              <a:gd name="connsiteX6" fmla="*/ 3792141 w 3933758"/>
              <a:gd name="connsiteY6" fmla="*/ 3337615 h 3404885"/>
              <a:gd name="connsiteX7" fmla="*/ 3933758 w 3933758"/>
              <a:gd name="connsiteY7" fmla="*/ 3404885 h 3404885"/>
              <a:gd name="connsiteX8" fmla="*/ 0 w 3933758"/>
              <a:gd name="connsiteY8" fmla="*/ 3404885 h 34048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33758" h="3404885">
                <a:moveTo>
                  <a:pt x="0" y="0"/>
                </a:moveTo>
                <a:lnTo>
                  <a:pt x="56108" y="12385"/>
                </a:lnTo>
                <a:cubicBezTo>
                  <a:pt x="262533" y="65926"/>
                  <a:pt x="459581" y="153289"/>
                  <a:pt x="619125" y="375935"/>
                </a:cubicBezTo>
                <a:cubicBezTo>
                  <a:pt x="831850" y="672798"/>
                  <a:pt x="762000" y="1420510"/>
                  <a:pt x="1123950" y="1747535"/>
                </a:cubicBezTo>
                <a:cubicBezTo>
                  <a:pt x="1485900" y="2074560"/>
                  <a:pt x="2441575" y="2126948"/>
                  <a:pt x="2790825" y="2338085"/>
                </a:cubicBezTo>
                <a:cubicBezTo>
                  <a:pt x="3140075" y="2549222"/>
                  <a:pt x="2973388" y="2806398"/>
                  <a:pt x="3219450" y="3014360"/>
                </a:cubicBezTo>
                <a:cubicBezTo>
                  <a:pt x="3342481" y="3118341"/>
                  <a:pt x="3575447" y="3234229"/>
                  <a:pt x="3792141" y="3337615"/>
                </a:cubicBezTo>
                <a:lnTo>
                  <a:pt x="3933758" y="3404885"/>
                </a:lnTo>
                <a:lnTo>
                  <a:pt x="0" y="3404885"/>
                </a:lnTo>
                <a:close/>
              </a:path>
            </a:pathLst>
          </a:custGeom>
          <a:solidFill>
            <a:srgbClr val="D3E3FF">
              <a:alpha val="30000"/>
            </a:srgbClr>
          </a:solidFill>
          <a:ln w="28107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>
              <a:solidFill>
                <a:schemeClr val="tx1"/>
              </a:solidFill>
            </a:endParaRPr>
          </a:p>
        </p:txBody>
      </p:sp>
      <p:pic>
        <p:nvPicPr>
          <p:cNvPr id="113" name="Graphic 112">
            <a:extLst>
              <a:ext uri="{FF2B5EF4-FFF2-40B4-BE49-F238E27FC236}">
                <a16:creationId xmlns:a16="http://schemas.microsoft.com/office/drawing/2014/main" xmlns="" id="{EE097B3B-589A-4FBA-87D4-B6FAA48AA2A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b="17117"/>
          <a:stretch/>
        </p:blipFill>
        <p:spPr>
          <a:xfrm>
            <a:off x="3204620" y="4843909"/>
            <a:ext cx="793489" cy="2014091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xmlns="" id="{CD1757C1-DC5C-4EFC-8F47-531DD1B6E028}"/>
              </a:ext>
            </a:extLst>
          </p:cNvPr>
          <p:cNvSpPr txBox="1"/>
          <p:nvPr/>
        </p:nvSpPr>
        <p:spPr>
          <a:xfrm>
            <a:off x="4279642" y="1733937"/>
            <a:ext cx="3632718" cy="3632716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indent="-457200" algn="ctr">
              <a:lnSpc>
                <a:spcPct val="90000"/>
              </a:lnSpc>
              <a:spcBef>
                <a:spcPts val="1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228600" lvl="1" indent="-228600" algn="ctr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685800" lvl="2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3pPr>
            <a:lvl4pPr marL="1143000" lvl="3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en-US">
              <a:sym typeface="Calibri" panose="020F050202020403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C5F00ECA-2BF0-4EA1-B165-145A0AABA782}"/>
              </a:ext>
            </a:extLst>
          </p:cNvPr>
          <p:cNvSpPr txBox="1"/>
          <p:nvPr/>
        </p:nvSpPr>
        <p:spPr>
          <a:xfrm>
            <a:off x="1638300" y="541866"/>
            <a:ext cx="8915400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o-RO" sz="4000" dirty="0" smtClean="0">
                <a:latin typeface="Arial Black" panose="020B0A04020102020204" pitchFamily="34" charset="0"/>
              </a:rPr>
              <a:t>PROBLEMA</a:t>
            </a:r>
            <a:endParaRPr kumimoji="0" lang="en-US" sz="40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D237C755-AD24-4CC0-A640-FB114313FC59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-1" b="23021"/>
          <a:stretch/>
        </p:blipFill>
        <p:spPr>
          <a:xfrm>
            <a:off x="3674043" y="2095500"/>
            <a:ext cx="4470690" cy="4762500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xmlns="" id="{C942C4E4-E153-48B2-B006-16E7B82EDA01}"/>
              </a:ext>
            </a:extLst>
          </p:cNvPr>
          <p:cNvGrpSpPr/>
          <p:nvPr/>
        </p:nvGrpSpPr>
        <p:grpSpPr>
          <a:xfrm>
            <a:off x="4726165" y="1307049"/>
            <a:ext cx="853061" cy="1522065"/>
            <a:chOff x="4276040" y="1330462"/>
            <a:chExt cx="1662371" cy="2966075"/>
          </a:xfrm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xmlns="" id="{094A759A-31D0-4859-9724-DD23D12383E4}"/>
                </a:ext>
              </a:extLst>
            </p:cNvPr>
            <p:cNvSpPr/>
            <p:nvPr/>
          </p:nvSpPr>
          <p:spPr>
            <a:xfrm>
              <a:off x="4547571" y="1330462"/>
              <a:ext cx="1390840" cy="2009395"/>
            </a:xfrm>
            <a:custGeom>
              <a:avLst/>
              <a:gdLst>
                <a:gd name="connsiteX0" fmla="*/ 0 w 1390840"/>
                <a:gd name="connsiteY0" fmla="*/ 0 h 2009394"/>
                <a:gd name="connsiteX1" fmla="*/ 1324928 w 1390840"/>
                <a:gd name="connsiteY1" fmla="*/ 1260634 h 2009394"/>
                <a:gd name="connsiteX2" fmla="*/ 894207 w 1390840"/>
                <a:gd name="connsiteY2" fmla="*/ 1311116 h 2009394"/>
                <a:gd name="connsiteX3" fmla="*/ 1390841 w 1390840"/>
                <a:gd name="connsiteY3" fmla="*/ 2009394 h 2009394"/>
                <a:gd name="connsiteX4" fmla="*/ 7144 w 1390840"/>
                <a:gd name="connsiteY4" fmla="*/ 1048893 h 2009394"/>
                <a:gd name="connsiteX5" fmla="*/ 558070 w 1390840"/>
                <a:gd name="connsiteY5" fmla="*/ 1055561 h 2009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90840" h="2009394">
                  <a:moveTo>
                    <a:pt x="0" y="0"/>
                  </a:moveTo>
                  <a:lnTo>
                    <a:pt x="1324928" y="1260634"/>
                  </a:lnTo>
                  <a:lnTo>
                    <a:pt x="894207" y="1311116"/>
                  </a:lnTo>
                  <a:lnTo>
                    <a:pt x="1390841" y="2009394"/>
                  </a:lnTo>
                  <a:lnTo>
                    <a:pt x="7144" y="1048893"/>
                  </a:lnTo>
                  <a:lnTo>
                    <a:pt x="558070" y="1055561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xmlns="" id="{43342F38-C88E-48DA-A045-6A13C075CFC2}"/>
                </a:ext>
              </a:extLst>
            </p:cNvPr>
            <p:cNvSpPr/>
            <p:nvPr/>
          </p:nvSpPr>
          <p:spPr>
            <a:xfrm>
              <a:off x="4276040" y="3408045"/>
              <a:ext cx="560069" cy="888492"/>
            </a:xfrm>
            <a:custGeom>
              <a:avLst/>
              <a:gdLst>
                <a:gd name="connsiteX0" fmla="*/ 53245 w 560069"/>
                <a:gd name="connsiteY0" fmla="*/ 0 h 888492"/>
                <a:gd name="connsiteX1" fmla="*/ 523018 w 560069"/>
                <a:gd name="connsiteY1" fmla="*/ 486823 h 888492"/>
                <a:gd name="connsiteX2" fmla="*/ 319659 w 560069"/>
                <a:gd name="connsiteY2" fmla="*/ 546068 h 888492"/>
                <a:gd name="connsiteX3" fmla="*/ 560070 w 560069"/>
                <a:gd name="connsiteY3" fmla="*/ 888492 h 888492"/>
                <a:gd name="connsiteX4" fmla="*/ 0 w 560069"/>
                <a:gd name="connsiteY4" fmla="*/ 484346 h 888492"/>
                <a:gd name="connsiteX5" fmla="*/ 254603 w 560069"/>
                <a:gd name="connsiteY5" fmla="*/ 410242 h 888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60069" h="888492">
                  <a:moveTo>
                    <a:pt x="53245" y="0"/>
                  </a:moveTo>
                  <a:lnTo>
                    <a:pt x="523018" y="486823"/>
                  </a:lnTo>
                  <a:lnTo>
                    <a:pt x="319659" y="546068"/>
                  </a:lnTo>
                  <a:lnTo>
                    <a:pt x="560070" y="888492"/>
                  </a:lnTo>
                  <a:lnTo>
                    <a:pt x="0" y="484346"/>
                  </a:lnTo>
                  <a:lnTo>
                    <a:pt x="254603" y="410242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xmlns="" id="{6166B5B1-FBE7-46A6-8243-8224FF9F6599}"/>
              </a:ext>
            </a:extLst>
          </p:cNvPr>
          <p:cNvGrpSpPr/>
          <p:nvPr/>
        </p:nvGrpSpPr>
        <p:grpSpPr>
          <a:xfrm>
            <a:off x="6730306" y="1212213"/>
            <a:ext cx="931572" cy="1711358"/>
            <a:chOff x="6560790" y="1138081"/>
            <a:chExt cx="1815369" cy="3334952"/>
          </a:xfrm>
        </p:grpSpPr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xmlns="" id="{330C7F14-D38D-46D6-B3B9-E6C61C81083D}"/>
                </a:ext>
              </a:extLst>
            </p:cNvPr>
            <p:cNvSpPr/>
            <p:nvPr/>
          </p:nvSpPr>
          <p:spPr>
            <a:xfrm>
              <a:off x="6560790" y="1138081"/>
              <a:ext cx="1815369" cy="2521361"/>
            </a:xfrm>
            <a:custGeom>
              <a:avLst/>
              <a:gdLst>
                <a:gd name="connsiteX0" fmla="*/ 1754886 w 1815369"/>
                <a:gd name="connsiteY0" fmla="*/ 0 h 2521362"/>
                <a:gd name="connsiteX1" fmla="*/ 249269 w 1815369"/>
                <a:gd name="connsiteY1" fmla="*/ 1311116 h 2521362"/>
                <a:gd name="connsiteX2" fmla="*/ 860584 w 1815369"/>
                <a:gd name="connsiteY2" fmla="*/ 1311116 h 2521362"/>
                <a:gd name="connsiteX3" fmla="*/ 0 w 1815369"/>
                <a:gd name="connsiteY3" fmla="*/ 2521363 h 2521362"/>
                <a:gd name="connsiteX4" fmla="*/ 1815369 w 1815369"/>
                <a:gd name="connsiteY4" fmla="*/ 1203484 h 2521362"/>
                <a:gd name="connsiteX5" fmla="*/ 1196816 w 1815369"/>
                <a:gd name="connsiteY5" fmla="*/ 1055561 h 2521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15369" h="2521362">
                  <a:moveTo>
                    <a:pt x="1754886" y="0"/>
                  </a:moveTo>
                  <a:lnTo>
                    <a:pt x="249269" y="1311116"/>
                  </a:lnTo>
                  <a:lnTo>
                    <a:pt x="860584" y="1311116"/>
                  </a:lnTo>
                  <a:lnTo>
                    <a:pt x="0" y="2521363"/>
                  </a:lnTo>
                  <a:lnTo>
                    <a:pt x="1815369" y="1203484"/>
                  </a:lnTo>
                  <a:lnTo>
                    <a:pt x="1196816" y="1055561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xmlns="" id="{F8B84119-59EC-4C22-9E0A-120F6D135855}"/>
                </a:ext>
              </a:extLst>
            </p:cNvPr>
            <p:cNvSpPr/>
            <p:nvPr/>
          </p:nvSpPr>
          <p:spPr>
            <a:xfrm>
              <a:off x="7247554" y="3767041"/>
              <a:ext cx="1024128" cy="705992"/>
            </a:xfrm>
            <a:custGeom>
              <a:avLst/>
              <a:gdLst>
                <a:gd name="connsiteX0" fmla="*/ 1024128 w 1024128"/>
                <a:gd name="connsiteY0" fmla="*/ 0 h 705992"/>
                <a:gd name="connsiteX1" fmla="*/ 287941 w 1024128"/>
                <a:gd name="connsiteY1" fmla="*/ 262223 h 705992"/>
                <a:gd name="connsiteX2" fmla="*/ 544544 w 1024128"/>
                <a:gd name="connsiteY2" fmla="*/ 321564 h 705992"/>
                <a:gd name="connsiteX3" fmla="*/ 0 w 1024128"/>
                <a:gd name="connsiteY3" fmla="*/ 705993 h 705992"/>
                <a:gd name="connsiteX4" fmla="*/ 965835 w 1024128"/>
                <a:gd name="connsiteY4" fmla="*/ 245364 h 705992"/>
                <a:gd name="connsiteX5" fmla="*/ 708184 w 1024128"/>
                <a:gd name="connsiteY5" fmla="*/ 209550 h 7059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4128" h="705992">
                  <a:moveTo>
                    <a:pt x="1024128" y="0"/>
                  </a:moveTo>
                  <a:lnTo>
                    <a:pt x="287941" y="262223"/>
                  </a:lnTo>
                  <a:lnTo>
                    <a:pt x="544544" y="321564"/>
                  </a:lnTo>
                  <a:lnTo>
                    <a:pt x="0" y="705993"/>
                  </a:lnTo>
                  <a:lnTo>
                    <a:pt x="965835" y="245364"/>
                  </a:lnTo>
                  <a:lnTo>
                    <a:pt x="708184" y="209550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xmlns="" id="{68416129-07E7-4A13-9FFD-1C612CC15758}"/>
              </a:ext>
            </a:extLst>
          </p:cNvPr>
          <p:cNvSpPr txBox="1"/>
          <p:nvPr/>
        </p:nvSpPr>
        <p:spPr>
          <a:xfrm>
            <a:off x="1170145" y="1911515"/>
            <a:ext cx="1602930" cy="64633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Lorem ipsum dolor sit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amet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,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consectetur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adipiscing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elit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. 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xmlns="" id="{7A12AEA7-7A96-4C06-AA46-684BCB736393}"/>
              </a:ext>
            </a:extLst>
          </p:cNvPr>
          <p:cNvSpPr txBox="1"/>
          <p:nvPr/>
        </p:nvSpPr>
        <p:spPr>
          <a:xfrm>
            <a:off x="1561630" y="3189385"/>
            <a:ext cx="1602930" cy="64633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Lorem ipsum dolor sit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amet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,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consectetur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adipiscing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elit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. 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xmlns="" id="{A4796FB9-692A-4E43-9BCA-8077CA374989}"/>
              </a:ext>
            </a:extLst>
          </p:cNvPr>
          <p:cNvSpPr txBox="1"/>
          <p:nvPr/>
        </p:nvSpPr>
        <p:spPr>
          <a:xfrm>
            <a:off x="326289" y="4243745"/>
            <a:ext cx="1602930" cy="64633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Lorem ipsum dolor sit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amet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,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consectetur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adipiscing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elit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. 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xmlns="" id="{D82B5A74-3198-496D-9474-10FB3B7341CD}"/>
              </a:ext>
            </a:extLst>
          </p:cNvPr>
          <p:cNvSpPr txBox="1"/>
          <p:nvPr/>
        </p:nvSpPr>
        <p:spPr>
          <a:xfrm>
            <a:off x="9592504" y="1260882"/>
            <a:ext cx="1827164" cy="64633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Lorem ipsum dolor sit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amet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,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consectetur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adipiscing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elit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. 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xmlns="" id="{873809E7-95AE-41B6-A834-2B41EC7AB89D}"/>
              </a:ext>
            </a:extLst>
          </p:cNvPr>
          <p:cNvSpPr txBox="1"/>
          <p:nvPr/>
        </p:nvSpPr>
        <p:spPr>
          <a:xfrm>
            <a:off x="9002229" y="2875785"/>
            <a:ext cx="1827164" cy="64633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Lorem ipsum dolor sit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amet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,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consectetur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adipiscing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elit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. 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xmlns="" id="{38518C3D-343C-491D-A82D-4511773BB115}"/>
              </a:ext>
            </a:extLst>
          </p:cNvPr>
          <p:cNvSpPr txBox="1"/>
          <p:nvPr/>
        </p:nvSpPr>
        <p:spPr>
          <a:xfrm>
            <a:off x="10124204" y="3892883"/>
            <a:ext cx="1827164" cy="64633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Lorem ipsum dolor sit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amet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,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consectetur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adipiscing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elit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. </a:t>
            </a:r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xmlns="" id="{354CA34E-4628-4AF4-B9A8-57CFCC66C948}"/>
              </a:ext>
            </a:extLst>
          </p:cNvPr>
          <p:cNvCxnSpPr>
            <a:cxnSpLocks/>
          </p:cNvCxnSpPr>
          <p:nvPr/>
        </p:nvCxnSpPr>
        <p:spPr>
          <a:xfrm>
            <a:off x="4024904" y="3512551"/>
            <a:ext cx="254996" cy="0"/>
          </a:xfrm>
          <a:prstGeom prst="line">
            <a:avLst/>
          </a:prstGeom>
          <a:ln w="19050" cap="rnd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xmlns="" id="{91C2E787-890F-4FE1-9974-FDF37B936937}"/>
              </a:ext>
            </a:extLst>
          </p:cNvPr>
          <p:cNvCxnSpPr>
            <a:cxnSpLocks/>
          </p:cNvCxnSpPr>
          <p:nvPr/>
        </p:nvCxnSpPr>
        <p:spPr>
          <a:xfrm>
            <a:off x="7874000" y="3198951"/>
            <a:ext cx="270733" cy="0"/>
          </a:xfrm>
          <a:prstGeom prst="line">
            <a:avLst/>
          </a:prstGeom>
          <a:ln w="19050" cap="rnd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xmlns="" id="{7C15DBC7-2F18-4143-A88F-09D686990D56}"/>
              </a:ext>
            </a:extLst>
          </p:cNvPr>
          <p:cNvCxnSpPr>
            <a:cxnSpLocks/>
          </p:cNvCxnSpPr>
          <p:nvPr/>
        </p:nvCxnSpPr>
        <p:spPr>
          <a:xfrm flipV="1">
            <a:off x="8495594" y="1584047"/>
            <a:ext cx="598959" cy="1614904"/>
          </a:xfrm>
          <a:prstGeom prst="line">
            <a:avLst/>
          </a:prstGeom>
          <a:ln w="19050" cap="rnd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xmlns="" id="{71530BA4-5897-4F1C-990D-5CE9ECDE9B78}"/>
              </a:ext>
            </a:extLst>
          </p:cNvPr>
          <p:cNvCxnSpPr>
            <a:cxnSpLocks/>
          </p:cNvCxnSpPr>
          <p:nvPr/>
        </p:nvCxnSpPr>
        <p:spPr>
          <a:xfrm flipH="1" flipV="1">
            <a:off x="8492423" y="3197464"/>
            <a:ext cx="1125147" cy="1018585"/>
          </a:xfrm>
          <a:prstGeom prst="line">
            <a:avLst/>
          </a:prstGeom>
          <a:ln w="19050" cap="rnd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xmlns="" id="{6CBE96ED-9502-4845-971A-B280F4EEF016}"/>
              </a:ext>
            </a:extLst>
          </p:cNvPr>
          <p:cNvCxnSpPr>
            <a:cxnSpLocks/>
          </p:cNvCxnSpPr>
          <p:nvPr/>
        </p:nvCxnSpPr>
        <p:spPr>
          <a:xfrm flipH="1" flipV="1">
            <a:off x="3276537" y="2234680"/>
            <a:ext cx="397103" cy="1277870"/>
          </a:xfrm>
          <a:prstGeom prst="line">
            <a:avLst/>
          </a:prstGeom>
          <a:ln w="19050" cap="rnd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xmlns="" id="{8EF62453-94A5-4445-9EB9-17755EFECF9A}"/>
              </a:ext>
            </a:extLst>
          </p:cNvPr>
          <p:cNvCxnSpPr>
            <a:cxnSpLocks/>
          </p:cNvCxnSpPr>
          <p:nvPr/>
        </p:nvCxnSpPr>
        <p:spPr>
          <a:xfrm flipV="1">
            <a:off x="2435529" y="3512552"/>
            <a:ext cx="1238513" cy="1054359"/>
          </a:xfrm>
          <a:prstGeom prst="line">
            <a:avLst/>
          </a:prstGeom>
          <a:ln w="19050" cap="rnd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ECFCF167-800E-42B3-B604-E4F938007572}"/>
              </a:ext>
            </a:extLst>
          </p:cNvPr>
          <p:cNvSpPr txBox="1"/>
          <p:nvPr/>
        </p:nvSpPr>
        <p:spPr>
          <a:xfrm>
            <a:off x="2928848" y="1883820"/>
            <a:ext cx="701723" cy="701723"/>
          </a:xfrm>
          <a:prstGeom prst="ellips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indent="-457200" algn="ctr">
              <a:lnSpc>
                <a:spcPct val="90000"/>
              </a:lnSpc>
              <a:spcBef>
                <a:spcPts val="1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228600" lvl="1" indent="-228600" algn="ctr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685800" lvl="2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3pPr>
            <a:lvl4pPr marL="1143000" lvl="3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en-US">
              <a:sym typeface="Calibri" panose="020F050202020403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774DFB80-0E5F-4368-8FC2-CBF39382A7AB}"/>
              </a:ext>
            </a:extLst>
          </p:cNvPr>
          <p:cNvSpPr txBox="1"/>
          <p:nvPr/>
        </p:nvSpPr>
        <p:spPr>
          <a:xfrm>
            <a:off x="3323181" y="3161690"/>
            <a:ext cx="701723" cy="701723"/>
          </a:xfrm>
          <a:prstGeom prst="ellipse">
            <a:avLst/>
          </a:prstGeom>
          <a:solidFill>
            <a:srgbClr val="FFD9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indent="-457200" algn="ctr">
              <a:lnSpc>
                <a:spcPct val="90000"/>
              </a:lnSpc>
              <a:spcBef>
                <a:spcPts val="1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228600" lvl="1" indent="-228600" algn="ctr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685800" lvl="2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3pPr>
            <a:lvl4pPr marL="1143000" lvl="3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en-US">
              <a:sym typeface="Calibri" panose="020F0502020204030204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xmlns="" id="{4061A361-3932-4D60-9A2C-4F8026461CEE}"/>
              </a:ext>
            </a:extLst>
          </p:cNvPr>
          <p:cNvSpPr txBox="1"/>
          <p:nvPr/>
        </p:nvSpPr>
        <p:spPr>
          <a:xfrm>
            <a:off x="2087840" y="4216050"/>
            <a:ext cx="701723" cy="701723"/>
          </a:xfrm>
          <a:prstGeom prst="ellipse">
            <a:avLst/>
          </a:prstGeom>
          <a:solidFill>
            <a:srgbClr val="27C1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indent="-457200" algn="ctr">
              <a:lnSpc>
                <a:spcPct val="90000"/>
              </a:lnSpc>
              <a:spcBef>
                <a:spcPts val="1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228600" lvl="1" indent="-228600" algn="ctr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685800" lvl="2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3pPr>
            <a:lvl4pPr marL="1143000" lvl="3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en-US">
              <a:sym typeface="Calibri" panose="020F050202020403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xmlns="" id="{AB311A5D-64B2-477D-AE22-1AAC0EAC10F9}"/>
              </a:ext>
            </a:extLst>
          </p:cNvPr>
          <p:cNvSpPr txBox="1"/>
          <p:nvPr/>
        </p:nvSpPr>
        <p:spPr>
          <a:xfrm>
            <a:off x="8735008" y="1233187"/>
            <a:ext cx="701723" cy="701723"/>
          </a:xfrm>
          <a:prstGeom prst="ellipse">
            <a:avLst/>
          </a:prstGeom>
          <a:solidFill>
            <a:srgbClr val="27C1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indent="-457200" algn="ctr">
              <a:lnSpc>
                <a:spcPct val="90000"/>
              </a:lnSpc>
              <a:spcBef>
                <a:spcPts val="1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228600" lvl="1" indent="-228600" algn="ctr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685800" lvl="2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3pPr>
            <a:lvl4pPr marL="1143000" lvl="3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en-US">
              <a:sym typeface="Calibri" panose="020F050202020403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xmlns="" id="{7EDC70CE-82C7-4D54-AC1B-22AD1D761FE0}"/>
              </a:ext>
            </a:extLst>
          </p:cNvPr>
          <p:cNvSpPr txBox="1"/>
          <p:nvPr/>
        </p:nvSpPr>
        <p:spPr>
          <a:xfrm>
            <a:off x="8144733" y="2848090"/>
            <a:ext cx="701723" cy="701723"/>
          </a:xfrm>
          <a:prstGeom prst="ellipse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indent="-457200" algn="ctr">
              <a:lnSpc>
                <a:spcPct val="90000"/>
              </a:lnSpc>
              <a:spcBef>
                <a:spcPts val="1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228600" lvl="1" indent="-228600" algn="ctr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685800" lvl="2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3pPr>
            <a:lvl4pPr marL="1143000" lvl="3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en-US">
              <a:sym typeface="Calibri" panose="020F0502020204030204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xmlns="" id="{635C998F-C7FD-404A-9CD8-D95B0E1DD7F0}"/>
              </a:ext>
            </a:extLst>
          </p:cNvPr>
          <p:cNvSpPr txBox="1"/>
          <p:nvPr/>
        </p:nvSpPr>
        <p:spPr>
          <a:xfrm>
            <a:off x="9266708" y="3865188"/>
            <a:ext cx="701723" cy="701723"/>
          </a:xfrm>
          <a:prstGeom prst="ellipse">
            <a:avLst/>
          </a:prstGeom>
          <a:solidFill>
            <a:srgbClr val="FFD9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indent="-457200" algn="ctr">
              <a:lnSpc>
                <a:spcPct val="90000"/>
              </a:lnSpc>
              <a:spcBef>
                <a:spcPts val="1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228600" lvl="1" indent="-228600" algn="ctr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685800" lvl="2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3pPr>
            <a:lvl4pPr marL="1143000" lvl="3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en-US">
              <a:sym typeface="Calibri" panose="020F0502020204030204" pitchFamily="34" charset="0"/>
            </a:endParaRPr>
          </a:p>
        </p:txBody>
      </p:sp>
      <p:sp>
        <p:nvSpPr>
          <p:cNvPr id="108" name="Freeform: Shape 107">
            <a:extLst>
              <a:ext uri="{FF2B5EF4-FFF2-40B4-BE49-F238E27FC236}">
                <a16:creationId xmlns:a16="http://schemas.microsoft.com/office/drawing/2014/main" xmlns="" id="{8E10BFC8-007C-4BC5-BB28-E384E68F58E6}"/>
              </a:ext>
            </a:extLst>
          </p:cNvPr>
          <p:cNvSpPr/>
          <p:nvPr/>
        </p:nvSpPr>
        <p:spPr>
          <a:xfrm rot="10800000">
            <a:off x="8184267" y="0"/>
            <a:ext cx="4007733" cy="3468914"/>
          </a:xfrm>
          <a:custGeom>
            <a:avLst/>
            <a:gdLst>
              <a:gd name="connsiteX0" fmla="*/ 0 w 3933758"/>
              <a:gd name="connsiteY0" fmla="*/ 0 h 3404885"/>
              <a:gd name="connsiteX1" fmla="*/ 56108 w 3933758"/>
              <a:gd name="connsiteY1" fmla="*/ 12385 h 3404885"/>
              <a:gd name="connsiteX2" fmla="*/ 619125 w 3933758"/>
              <a:gd name="connsiteY2" fmla="*/ 375935 h 3404885"/>
              <a:gd name="connsiteX3" fmla="*/ 1123950 w 3933758"/>
              <a:gd name="connsiteY3" fmla="*/ 1747535 h 3404885"/>
              <a:gd name="connsiteX4" fmla="*/ 2790825 w 3933758"/>
              <a:gd name="connsiteY4" fmla="*/ 2338085 h 3404885"/>
              <a:gd name="connsiteX5" fmla="*/ 3219450 w 3933758"/>
              <a:gd name="connsiteY5" fmla="*/ 3014360 h 3404885"/>
              <a:gd name="connsiteX6" fmla="*/ 3792141 w 3933758"/>
              <a:gd name="connsiteY6" fmla="*/ 3337615 h 3404885"/>
              <a:gd name="connsiteX7" fmla="*/ 3933758 w 3933758"/>
              <a:gd name="connsiteY7" fmla="*/ 3404885 h 3404885"/>
              <a:gd name="connsiteX8" fmla="*/ 0 w 3933758"/>
              <a:gd name="connsiteY8" fmla="*/ 3404885 h 34048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33758" h="3404885">
                <a:moveTo>
                  <a:pt x="0" y="0"/>
                </a:moveTo>
                <a:lnTo>
                  <a:pt x="56108" y="12385"/>
                </a:lnTo>
                <a:cubicBezTo>
                  <a:pt x="262533" y="65926"/>
                  <a:pt x="459581" y="153289"/>
                  <a:pt x="619125" y="375935"/>
                </a:cubicBezTo>
                <a:cubicBezTo>
                  <a:pt x="831850" y="672798"/>
                  <a:pt x="762000" y="1420510"/>
                  <a:pt x="1123950" y="1747535"/>
                </a:cubicBezTo>
                <a:cubicBezTo>
                  <a:pt x="1485900" y="2074560"/>
                  <a:pt x="2441575" y="2126948"/>
                  <a:pt x="2790825" y="2338085"/>
                </a:cubicBezTo>
                <a:cubicBezTo>
                  <a:pt x="3140075" y="2549222"/>
                  <a:pt x="2973388" y="2806398"/>
                  <a:pt x="3219450" y="3014360"/>
                </a:cubicBezTo>
                <a:cubicBezTo>
                  <a:pt x="3342481" y="3118341"/>
                  <a:pt x="3575447" y="3234229"/>
                  <a:pt x="3792141" y="3337615"/>
                </a:cubicBezTo>
                <a:lnTo>
                  <a:pt x="3933758" y="3404885"/>
                </a:lnTo>
                <a:lnTo>
                  <a:pt x="0" y="3404885"/>
                </a:lnTo>
                <a:close/>
              </a:path>
            </a:pathLst>
          </a:custGeom>
          <a:solidFill>
            <a:srgbClr val="D3E3FF">
              <a:alpha val="30000"/>
            </a:srgbClr>
          </a:solidFill>
          <a:ln w="28107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>
              <a:solidFill>
                <a:schemeClr val="tx1"/>
              </a:solidFill>
            </a:endParaRPr>
          </a:p>
        </p:txBody>
      </p:sp>
      <p:pic>
        <p:nvPicPr>
          <p:cNvPr id="110" name="Graphic 109">
            <a:extLst>
              <a:ext uri="{FF2B5EF4-FFF2-40B4-BE49-F238E27FC236}">
                <a16:creationId xmlns:a16="http://schemas.microsoft.com/office/drawing/2014/main" xmlns="" id="{AA37433B-3496-42E9-A504-A6B418C46F64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xmlns="" r:embed="rId6"/>
              </a:ext>
            </a:extLst>
          </a:blip>
          <a:srcRect b="45435"/>
          <a:stretch/>
        </p:blipFill>
        <p:spPr>
          <a:xfrm flipH="1">
            <a:off x="7523592" y="4566911"/>
            <a:ext cx="2119032" cy="2291089"/>
          </a:xfrm>
          <a:prstGeom prst="rect">
            <a:avLst/>
          </a:prstGeom>
        </p:spPr>
      </p:pic>
      <p:sp>
        <p:nvSpPr>
          <p:cNvPr id="121" name="Freeform: Shape 120">
            <a:extLst>
              <a:ext uri="{FF2B5EF4-FFF2-40B4-BE49-F238E27FC236}">
                <a16:creationId xmlns:a16="http://schemas.microsoft.com/office/drawing/2014/main" xmlns="" id="{F95742E1-5427-419E-B655-60EAB69DC534}"/>
              </a:ext>
            </a:extLst>
          </p:cNvPr>
          <p:cNvSpPr/>
          <p:nvPr/>
        </p:nvSpPr>
        <p:spPr>
          <a:xfrm>
            <a:off x="-1" y="5150234"/>
            <a:ext cx="2351315" cy="1707766"/>
          </a:xfrm>
          <a:custGeom>
            <a:avLst/>
            <a:gdLst>
              <a:gd name="connsiteX0" fmla="*/ 0 w 2445467"/>
              <a:gd name="connsiteY0" fmla="*/ 0 h 2737444"/>
              <a:gd name="connsiteX1" fmla="*/ 64083 w 2445467"/>
              <a:gd name="connsiteY1" fmla="*/ 53704 h 2737444"/>
              <a:gd name="connsiteX2" fmla="*/ 435430 w 2445467"/>
              <a:gd name="connsiteY2" fmla="*/ 465958 h 2737444"/>
              <a:gd name="connsiteX3" fmla="*/ 508001 w 2445467"/>
              <a:gd name="connsiteY3" fmla="*/ 1525501 h 2737444"/>
              <a:gd name="connsiteX4" fmla="*/ 1553030 w 2445467"/>
              <a:gd name="connsiteY4" fmla="*/ 2106073 h 2737444"/>
              <a:gd name="connsiteX5" fmla="*/ 2327730 w 2445467"/>
              <a:gd name="connsiteY5" fmla="*/ 2650359 h 2737444"/>
              <a:gd name="connsiteX6" fmla="*/ 2445467 w 2445467"/>
              <a:gd name="connsiteY6" fmla="*/ 2737444 h 2737444"/>
              <a:gd name="connsiteX7" fmla="*/ 0 w 2445467"/>
              <a:gd name="connsiteY7" fmla="*/ 2737444 h 27374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445467" h="2737444">
                <a:moveTo>
                  <a:pt x="0" y="0"/>
                </a:moveTo>
                <a:lnTo>
                  <a:pt x="64083" y="53704"/>
                </a:lnTo>
                <a:cubicBezTo>
                  <a:pt x="222478" y="195970"/>
                  <a:pt x="361952" y="349844"/>
                  <a:pt x="435430" y="465958"/>
                </a:cubicBezTo>
                <a:cubicBezTo>
                  <a:pt x="631373" y="775596"/>
                  <a:pt x="321734" y="1252149"/>
                  <a:pt x="508001" y="1525501"/>
                </a:cubicBezTo>
                <a:cubicBezTo>
                  <a:pt x="694268" y="1798854"/>
                  <a:pt x="1134535" y="1830302"/>
                  <a:pt x="1553030" y="2106073"/>
                </a:cubicBezTo>
                <a:cubicBezTo>
                  <a:pt x="1762278" y="2243959"/>
                  <a:pt x="2051958" y="2448369"/>
                  <a:pt x="2327730" y="2650359"/>
                </a:cubicBezTo>
                <a:lnTo>
                  <a:pt x="2445467" y="2737444"/>
                </a:lnTo>
                <a:lnTo>
                  <a:pt x="0" y="2737444"/>
                </a:lnTo>
                <a:close/>
              </a:path>
            </a:pathLst>
          </a:custGeom>
          <a:solidFill>
            <a:srgbClr val="4399FF"/>
          </a:solidFill>
          <a:ln w="28107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127" name="Freeform: Shape 126">
            <a:extLst>
              <a:ext uri="{FF2B5EF4-FFF2-40B4-BE49-F238E27FC236}">
                <a16:creationId xmlns:a16="http://schemas.microsoft.com/office/drawing/2014/main" xmlns="" id="{773F5E04-2B3E-428C-BA34-627A1BA57FAF}"/>
              </a:ext>
            </a:extLst>
          </p:cNvPr>
          <p:cNvSpPr/>
          <p:nvPr/>
        </p:nvSpPr>
        <p:spPr>
          <a:xfrm rot="10800000">
            <a:off x="9918699" y="1"/>
            <a:ext cx="2273300" cy="1680291"/>
          </a:xfrm>
          <a:custGeom>
            <a:avLst/>
            <a:gdLst>
              <a:gd name="connsiteX0" fmla="*/ 2267817 w 2273300"/>
              <a:gd name="connsiteY0" fmla="*/ 1680291 h 1680291"/>
              <a:gd name="connsiteX1" fmla="*/ 0 w 2273300"/>
              <a:gd name="connsiteY1" fmla="*/ 1680291 h 1680291"/>
              <a:gd name="connsiteX2" fmla="*/ 0 w 2273300"/>
              <a:gd name="connsiteY2" fmla="*/ 0 h 1680291"/>
              <a:gd name="connsiteX3" fmla="*/ 34939 w 2273300"/>
              <a:gd name="connsiteY3" fmla="*/ 21056 h 1680291"/>
              <a:gd name="connsiteX4" fmla="*/ 203200 w 2273300"/>
              <a:gd name="connsiteY4" fmla="*/ 185320 h 1680291"/>
              <a:gd name="connsiteX5" fmla="*/ 275771 w 2273300"/>
              <a:gd name="connsiteY5" fmla="*/ 867491 h 1680291"/>
              <a:gd name="connsiteX6" fmla="*/ 2046514 w 2273300"/>
              <a:gd name="connsiteY6" fmla="*/ 1143262 h 1680291"/>
              <a:gd name="connsiteX7" fmla="*/ 2273300 w 2273300"/>
              <a:gd name="connsiteY7" fmla="*/ 1565991 h 16802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73300" h="1680291">
                <a:moveTo>
                  <a:pt x="2267817" y="1680291"/>
                </a:moveTo>
                <a:lnTo>
                  <a:pt x="0" y="1680291"/>
                </a:lnTo>
                <a:lnTo>
                  <a:pt x="0" y="0"/>
                </a:lnTo>
                <a:lnTo>
                  <a:pt x="34939" y="21056"/>
                </a:lnTo>
                <a:cubicBezTo>
                  <a:pt x="105228" y="67732"/>
                  <a:pt x="167821" y="123634"/>
                  <a:pt x="203200" y="185320"/>
                </a:cubicBezTo>
                <a:cubicBezTo>
                  <a:pt x="297543" y="349815"/>
                  <a:pt x="-31448" y="707834"/>
                  <a:pt x="275771" y="867491"/>
                </a:cubicBezTo>
                <a:cubicBezTo>
                  <a:pt x="582990" y="1027148"/>
                  <a:pt x="1734457" y="952157"/>
                  <a:pt x="2046514" y="1143262"/>
                </a:cubicBezTo>
                <a:cubicBezTo>
                  <a:pt x="2202542" y="1238814"/>
                  <a:pt x="2267252" y="1400286"/>
                  <a:pt x="2273300" y="1565991"/>
                </a:cubicBezTo>
                <a:close/>
              </a:path>
            </a:pathLst>
          </a:custGeom>
          <a:solidFill>
            <a:srgbClr val="FFD966"/>
          </a:solidFill>
          <a:ln w="28107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>
              <a:solidFill>
                <a:schemeClr val="tx1"/>
              </a:solidFill>
            </a:endParaRPr>
          </a:p>
        </p:txBody>
      </p:sp>
      <p:grpSp>
        <p:nvGrpSpPr>
          <p:cNvPr id="135" name="Group 134">
            <a:extLst>
              <a:ext uri="{FF2B5EF4-FFF2-40B4-BE49-F238E27FC236}">
                <a16:creationId xmlns:a16="http://schemas.microsoft.com/office/drawing/2014/main" xmlns="" id="{AC28D38F-28AE-473C-842B-0543FDF21014}"/>
              </a:ext>
            </a:extLst>
          </p:cNvPr>
          <p:cNvGrpSpPr/>
          <p:nvPr/>
        </p:nvGrpSpPr>
        <p:grpSpPr>
          <a:xfrm>
            <a:off x="3475843" y="3396425"/>
            <a:ext cx="396399" cy="232252"/>
            <a:chOff x="4833938" y="4046538"/>
            <a:chExt cx="360363" cy="211138"/>
          </a:xfrm>
          <a:solidFill>
            <a:schemeClr val="bg1"/>
          </a:solidFill>
        </p:grpSpPr>
        <p:sp>
          <p:nvSpPr>
            <p:cNvPr id="136" name="Freeform 46">
              <a:extLst>
                <a:ext uri="{FF2B5EF4-FFF2-40B4-BE49-F238E27FC236}">
                  <a16:creationId xmlns:a16="http://schemas.microsoft.com/office/drawing/2014/main" xmlns="" id="{3DEA68C0-3B50-4044-A6C2-9C443C7E9DE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33938" y="4046538"/>
              <a:ext cx="360363" cy="211138"/>
            </a:xfrm>
            <a:custGeom>
              <a:avLst/>
              <a:gdLst>
                <a:gd name="T0" fmla="*/ 0 w 96"/>
                <a:gd name="T1" fmla="*/ 29 h 56"/>
                <a:gd name="T2" fmla="*/ 48 w 96"/>
                <a:gd name="T3" fmla="*/ 56 h 56"/>
                <a:gd name="T4" fmla="*/ 96 w 96"/>
                <a:gd name="T5" fmla="*/ 29 h 56"/>
                <a:gd name="T6" fmla="*/ 96 w 96"/>
                <a:gd name="T7" fmla="*/ 27 h 56"/>
                <a:gd name="T8" fmla="*/ 48 w 96"/>
                <a:gd name="T9" fmla="*/ 0 h 56"/>
                <a:gd name="T10" fmla="*/ 0 w 96"/>
                <a:gd name="T11" fmla="*/ 27 h 56"/>
                <a:gd name="T12" fmla="*/ 0 w 96"/>
                <a:gd name="T13" fmla="*/ 29 h 56"/>
                <a:gd name="T14" fmla="*/ 48 w 96"/>
                <a:gd name="T15" fmla="*/ 10 h 56"/>
                <a:gd name="T16" fmla="*/ 66 w 96"/>
                <a:gd name="T17" fmla="*/ 28 h 56"/>
                <a:gd name="T18" fmla="*/ 48 w 96"/>
                <a:gd name="T19" fmla="*/ 46 h 56"/>
                <a:gd name="T20" fmla="*/ 30 w 96"/>
                <a:gd name="T21" fmla="*/ 28 h 56"/>
                <a:gd name="T22" fmla="*/ 48 w 96"/>
                <a:gd name="T23" fmla="*/ 1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6" h="56">
                  <a:moveTo>
                    <a:pt x="0" y="29"/>
                  </a:moveTo>
                  <a:cubicBezTo>
                    <a:pt x="1" y="30"/>
                    <a:pt x="22" y="56"/>
                    <a:pt x="48" y="56"/>
                  </a:cubicBezTo>
                  <a:cubicBezTo>
                    <a:pt x="74" y="56"/>
                    <a:pt x="95" y="30"/>
                    <a:pt x="96" y="29"/>
                  </a:cubicBezTo>
                  <a:cubicBezTo>
                    <a:pt x="96" y="29"/>
                    <a:pt x="96" y="27"/>
                    <a:pt x="96" y="27"/>
                  </a:cubicBezTo>
                  <a:cubicBezTo>
                    <a:pt x="95" y="26"/>
                    <a:pt x="74" y="0"/>
                    <a:pt x="48" y="0"/>
                  </a:cubicBezTo>
                  <a:cubicBezTo>
                    <a:pt x="22" y="0"/>
                    <a:pt x="1" y="26"/>
                    <a:pt x="0" y="27"/>
                  </a:cubicBezTo>
                  <a:cubicBezTo>
                    <a:pt x="0" y="27"/>
                    <a:pt x="0" y="29"/>
                    <a:pt x="0" y="29"/>
                  </a:cubicBezTo>
                  <a:close/>
                  <a:moveTo>
                    <a:pt x="48" y="10"/>
                  </a:moveTo>
                  <a:cubicBezTo>
                    <a:pt x="58" y="10"/>
                    <a:pt x="66" y="18"/>
                    <a:pt x="66" y="28"/>
                  </a:cubicBezTo>
                  <a:cubicBezTo>
                    <a:pt x="66" y="38"/>
                    <a:pt x="58" y="46"/>
                    <a:pt x="48" y="46"/>
                  </a:cubicBezTo>
                  <a:cubicBezTo>
                    <a:pt x="38" y="46"/>
                    <a:pt x="30" y="38"/>
                    <a:pt x="30" y="28"/>
                  </a:cubicBezTo>
                  <a:cubicBezTo>
                    <a:pt x="30" y="18"/>
                    <a:pt x="38" y="10"/>
                    <a:pt x="48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7" name="Oval 47">
              <a:extLst>
                <a:ext uri="{FF2B5EF4-FFF2-40B4-BE49-F238E27FC236}">
                  <a16:creationId xmlns:a16="http://schemas.microsoft.com/office/drawing/2014/main" xmlns="" id="{AA1CD31E-ECB0-4896-B6D0-4131E5C6C27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60938" y="4098925"/>
              <a:ext cx="106363" cy="10477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38" name="Group 137">
            <a:extLst>
              <a:ext uri="{FF2B5EF4-FFF2-40B4-BE49-F238E27FC236}">
                <a16:creationId xmlns:a16="http://schemas.microsoft.com/office/drawing/2014/main" xmlns="" id="{A14582BA-82C1-4113-996A-7CC1B2154D82}"/>
              </a:ext>
            </a:extLst>
          </p:cNvPr>
          <p:cNvGrpSpPr/>
          <p:nvPr/>
        </p:nvGrpSpPr>
        <p:grpSpPr>
          <a:xfrm>
            <a:off x="8331793" y="3046695"/>
            <a:ext cx="327603" cy="304512"/>
            <a:chOff x="6276975" y="3981450"/>
            <a:chExt cx="360363" cy="334963"/>
          </a:xfrm>
          <a:solidFill>
            <a:schemeClr val="bg1"/>
          </a:solidFill>
        </p:grpSpPr>
        <p:sp>
          <p:nvSpPr>
            <p:cNvPr id="139" name="Freeform 98">
              <a:extLst>
                <a:ext uri="{FF2B5EF4-FFF2-40B4-BE49-F238E27FC236}">
                  <a16:creationId xmlns:a16="http://schemas.microsoft.com/office/drawing/2014/main" xmlns="" id="{9F011A10-FA67-4DA6-9759-DEECE1B176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72238" y="3981450"/>
              <a:ext cx="165100" cy="334963"/>
            </a:xfrm>
            <a:custGeom>
              <a:avLst/>
              <a:gdLst>
                <a:gd name="T0" fmla="*/ 14 w 44"/>
                <a:gd name="T1" fmla="*/ 37 h 89"/>
                <a:gd name="T2" fmla="*/ 12 w 44"/>
                <a:gd name="T3" fmla="*/ 39 h 89"/>
                <a:gd name="T4" fmla="*/ 10 w 44"/>
                <a:gd name="T5" fmla="*/ 37 h 89"/>
                <a:gd name="T6" fmla="*/ 0 w 44"/>
                <a:gd name="T7" fmla="*/ 31 h 89"/>
                <a:gd name="T8" fmla="*/ 0 w 44"/>
                <a:gd name="T9" fmla="*/ 67 h 89"/>
                <a:gd name="T10" fmla="*/ 22 w 44"/>
                <a:gd name="T11" fmla="*/ 89 h 89"/>
                <a:gd name="T12" fmla="*/ 44 w 44"/>
                <a:gd name="T13" fmla="*/ 67 h 89"/>
                <a:gd name="T14" fmla="*/ 40 w 44"/>
                <a:gd name="T15" fmla="*/ 54 h 89"/>
                <a:gd name="T16" fmla="*/ 28 w 44"/>
                <a:gd name="T17" fmla="*/ 26 h 89"/>
                <a:gd name="T18" fmla="*/ 27 w 44"/>
                <a:gd name="T19" fmla="*/ 26 h 89"/>
                <a:gd name="T20" fmla="*/ 22 w 44"/>
                <a:gd name="T21" fmla="*/ 20 h 89"/>
                <a:gd name="T22" fmla="*/ 16 w 44"/>
                <a:gd name="T23" fmla="*/ 5 h 89"/>
                <a:gd name="T24" fmla="*/ 15 w 44"/>
                <a:gd name="T25" fmla="*/ 4 h 89"/>
                <a:gd name="T26" fmla="*/ 1 w 44"/>
                <a:gd name="T27" fmla="*/ 4 h 89"/>
                <a:gd name="T28" fmla="*/ 0 w 44"/>
                <a:gd name="T29" fmla="*/ 5 h 89"/>
                <a:gd name="T30" fmla="*/ 0 w 44"/>
                <a:gd name="T31" fmla="*/ 27 h 89"/>
                <a:gd name="T32" fmla="*/ 14 w 44"/>
                <a:gd name="T33" fmla="*/ 37 h 89"/>
                <a:gd name="T34" fmla="*/ 22 w 44"/>
                <a:gd name="T35" fmla="*/ 85 h 89"/>
                <a:gd name="T36" fmla="*/ 4 w 44"/>
                <a:gd name="T37" fmla="*/ 67 h 89"/>
                <a:gd name="T38" fmla="*/ 22 w 44"/>
                <a:gd name="T39" fmla="*/ 49 h 89"/>
                <a:gd name="T40" fmla="*/ 40 w 44"/>
                <a:gd name="T41" fmla="*/ 67 h 89"/>
                <a:gd name="T42" fmla="*/ 22 w 44"/>
                <a:gd name="T43" fmla="*/ 85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4" h="89">
                  <a:moveTo>
                    <a:pt x="14" y="37"/>
                  </a:moveTo>
                  <a:cubicBezTo>
                    <a:pt x="14" y="38"/>
                    <a:pt x="13" y="39"/>
                    <a:pt x="12" y="39"/>
                  </a:cubicBezTo>
                  <a:cubicBezTo>
                    <a:pt x="11" y="39"/>
                    <a:pt x="10" y="38"/>
                    <a:pt x="10" y="37"/>
                  </a:cubicBezTo>
                  <a:cubicBezTo>
                    <a:pt x="10" y="35"/>
                    <a:pt x="6" y="32"/>
                    <a:pt x="0" y="31"/>
                  </a:cubicBezTo>
                  <a:cubicBezTo>
                    <a:pt x="0" y="67"/>
                    <a:pt x="0" y="67"/>
                    <a:pt x="0" y="67"/>
                  </a:cubicBezTo>
                  <a:cubicBezTo>
                    <a:pt x="0" y="79"/>
                    <a:pt x="10" y="89"/>
                    <a:pt x="22" y="89"/>
                  </a:cubicBezTo>
                  <a:cubicBezTo>
                    <a:pt x="34" y="89"/>
                    <a:pt x="44" y="79"/>
                    <a:pt x="44" y="67"/>
                  </a:cubicBezTo>
                  <a:cubicBezTo>
                    <a:pt x="44" y="62"/>
                    <a:pt x="42" y="58"/>
                    <a:pt x="40" y="54"/>
                  </a:cubicBezTo>
                  <a:cubicBezTo>
                    <a:pt x="28" y="26"/>
                    <a:pt x="28" y="26"/>
                    <a:pt x="28" y="26"/>
                  </a:cubicBezTo>
                  <a:cubicBezTo>
                    <a:pt x="28" y="26"/>
                    <a:pt x="28" y="26"/>
                    <a:pt x="27" y="26"/>
                  </a:cubicBezTo>
                  <a:cubicBezTo>
                    <a:pt x="22" y="20"/>
                    <a:pt x="22" y="20"/>
                    <a:pt x="22" y="20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6" y="4"/>
                    <a:pt x="16" y="4"/>
                    <a:pt x="15" y="4"/>
                  </a:cubicBezTo>
                  <a:cubicBezTo>
                    <a:pt x="12" y="0"/>
                    <a:pt x="4" y="0"/>
                    <a:pt x="1" y="4"/>
                  </a:cubicBezTo>
                  <a:cubicBezTo>
                    <a:pt x="0" y="4"/>
                    <a:pt x="0" y="5"/>
                    <a:pt x="0" y="5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8" y="28"/>
                    <a:pt x="14" y="32"/>
                    <a:pt x="14" y="37"/>
                  </a:cubicBezTo>
                  <a:close/>
                  <a:moveTo>
                    <a:pt x="22" y="85"/>
                  </a:moveTo>
                  <a:cubicBezTo>
                    <a:pt x="12" y="85"/>
                    <a:pt x="4" y="77"/>
                    <a:pt x="4" y="67"/>
                  </a:cubicBezTo>
                  <a:cubicBezTo>
                    <a:pt x="4" y="57"/>
                    <a:pt x="12" y="49"/>
                    <a:pt x="22" y="49"/>
                  </a:cubicBezTo>
                  <a:cubicBezTo>
                    <a:pt x="32" y="49"/>
                    <a:pt x="40" y="57"/>
                    <a:pt x="40" y="67"/>
                  </a:cubicBezTo>
                  <a:cubicBezTo>
                    <a:pt x="40" y="77"/>
                    <a:pt x="32" y="85"/>
                    <a:pt x="22" y="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0" name="Freeform 99">
              <a:extLst>
                <a:ext uri="{FF2B5EF4-FFF2-40B4-BE49-F238E27FC236}">
                  <a16:creationId xmlns:a16="http://schemas.microsoft.com/office/drawing/2014/main" xmlns="" id="{03647BCC-BF1B-4313-927E-D155F4E552F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76975" y="3981450"/>
              <a:ext cx="165100" cy="334963"/>
            </a:xfrm>
            <a:custGeom>
              <a:avLst/>
              <a:gdLst>
                <a:gd name="T0" fmla="*/ 0 w 44"/>
                <a:gd name="T1" fmla="*/ 67 h 89"/>
                <a:gd name="T2" fmla="*/ 22 w 44"/>
                <a:gd name="T3" fmla="*/ 89 h 89"/>
                <a:gd name="T4" fmla="*/ 44 w 44"/>
                <a:gd name="T5" fmla="*/ 67 h 89"/>
                <a:gd name="T6" fmla="*/ 44 w 44"/>
                <a:gd name="T7" fmla="*/ 31 h 89"/>
                <a:gd name="T8" fmla="*/ 34 w 44"/>
                <a:gd name="T9" fmla="*/ 37 h 89"/>
                <a:gd name="T10" fmla="*/ 32 w 44"/>
                <a:gd name="T11" fmla="*/ 39 h 89"/>
                <a:gd name="T12" fmla="*/ 30 w 44"/>
                <a:gd name="T13" fmla="*/ 37 h 89"/>
                <a:gd name="T14" fmla="*/ 44 w 44"/>
                <a:gd name="T15" fmla="*/ 27 h 89"/>
                <a:gd name="T16" fmla="*/ 44 w 44"/>
                <a:gd name="T17" fmla="*/ 5 h 89"/>
                <a:gd name="T18" fmla="*/ 43 w 44"/>
                <a:gd name="T19" fmla="*/ 4 h 89"/>
                <a:gd name="T20" fmla="*/ 29 w 44"/>
                <a:gd name="T21" fmla="*/ 4 h 89"/>
                <a:gd name="T22" fmla="*/ 28 w 44"/>
                <a:gd name="T23" fmla="*/ 4 h 89"/>
                <a:gd name="T24" fmla="*/ 22 w 44"/>
                <a:gd name="T25" fmla="*/ 20 h 89"/>
                <a:gd name="T26" fmla="*/ 17 w 44"/>
                <a:gd name="T27" fmla="*/ 26 h 89"/>
                <a:gd name="T28" fmla="*/ 16 w 44"/>
                <a:gd name="T29" fmla="*/ 26 h 89"/>
                <a:gd name="T30" fmla="*/ 4 w 44"/>
                <a:gd name="T31" fmla="*/ 54 h 89"/>
                <a:gd name="T32" fmla="*/ 0 w 44"/>
                <a:gd name="T33" fmla="*/ 67 h 89"/>
                <a:gd name="T34" fmla="*/ 22 w 44"/>
                <a:gd name="T35" fmla="*/ 85 h 89"/>
                <a:gd name="T36" fmla="*/ 4 w 44"/>
                <a:gd name="T37" fmla="*/ 67 h 89"/>
                <a:gd name="T38" fmla="*/ 22 w 44"/>
                <a:gd name="T39" fmla="*/ 49 h 89"/>
                <a:gd name="T40" fmla="*/ 40 w 44"/>
                <a:gd name="T41" fmla="*/ 67 h 89"/>
                <a:gd name="T42" fmla="*/ 22 w 44"/>
                <a:gd name="T43" fmla="*/ 85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4" h="89">
                  <a:moveTo>
                    <a:pt x="0" y="67"/>
                  </a:moveTo>
                  <a:cubicBezTo>
                    <a:pt x="0" y="79"/>
                    <a:pt x="10" y="89"/>
                    <a:pt x="22" y="89"/>
                  </a:cubicBezTo>
                  <a:cubicBezTo>
                    <a:pt x="34" y="89"/>
                    <a:pt x="44" y="79"/>
                    <a:pt x="44" y="67"/>
                  </a:cubicBezTo>
                  <a:cubicBezTo>
                    <a:pt x="44" y="31"/>
                    <a:pt x="44" y="31"/>
                    <a:pt x="44" y="31"/>
                  </a:cubicBezTo>
                  <a:cubicBezTo>
                    <a:pt x="38" y="32"/>
                    <a:pt x="34" y="35"/>
                    <a:pt x="34" y="37"/>
                  </a:cubicBezTo>
                  <a:cubicBezTo>
                    <a:pt x="34" y="38"/>
                    <a:pt x="33" y="39"/>
                    <a:pt x="32" y="39"/>
                  </a:cubicBezTo>
                  <a:cubicBezTo>
                    <a:pt x="31" y="39"/>
                    <a:pt x="30" y="38"/>
                    <a:pt x="30" y="37"/>
                  </a:cubicBezTo>
                  <a:cubicBezTo>
                    <a:pt x="30" y="32"/>
                    <a:pt x="36" y="28"/>
                    <a:pt x="44" y="27"/>
                  </a:cubicBezTo>
                  <a:cubicBezTo>
                    <a:pt x="44" y="5"/>
                    <a:pt x="44" y="5"/>
                    <a:pt x="44" y="5"/>
                  </a:cubicBezTo>
                  <a:cubicBezTo>
                    <a:pt x="44" y="5"/>
                    <a:pt x="44" y="4"/>
                    <a:pt x="43" y="4"/>
                  </a:cubicBezTo>
                  <a:cubicBezTo>
                    <a:pt x="40" y="0"/>
                    <a:pt x="32" y="0"/>
                    <a:pt x="29" y="4"/>
                  </a:cubicBezTo>
                  <a:cubicBezTo>
                    <a:pt x="28" y="4"/>
                    <a:pt x="28" y="4"/>
                    <a:pt x="28" y="4"/>
                  </a:cubicBezTo>
                  <a:cubicBezTo>
                    <a:pt x="22" y="20"/>
                    <a:pt x="22" y="20"/>
                    <a:pt x="22" y="20"/>
                  </a:cubicBezTo>
                  <a:cubicBezTo>
                    <a:pt x="17" y="26"/>
                    <a:pt x="17" y="26"/>
                    <a:pt x="17" y="26"/>
                  </a:cubicBezTo>
                  <a:cubicBezTo>
                    <a:pt x="16" y="26"/>
                    <a:pt x="16" y="26"/>
                    <a:pt x="16" y="26"/>
                  </a:cubicBezTo>
                  <a:cubicBezTo>
                    <a:pt x="4" y="54"/>
                    <a:pt x="4" y="54"/>
                    <a:pt x="4" y="54"/>
                  </a:cubicBezTo>
                  <a:cubicBezTo>
                    <a:pt x="2" y="58"/>
                    <a:pt x="0" y="62"/>
                    <a:pt x="0" y="67"/>
                  </a:cubicBezTo>
                  <a:close/>
                  <a:moveTo>
                    <a:pt x="22" y="85"/>
                  </a:moveTo>
                  <a:cubicBezTo>
                    <a:pt x="12" y="85"/>
                    <a:pt x="4" y="77"/>
                    <a:pt x="4" y="67"/>
                  </a:cubicBezTo>
                  <a:cubicBezTo>
                    <a:pt x="4" y="57"/>
                    <a:pt x="12" y="49"/>
                    <a:pt x="22" y="49"/>
                  </a:cubicBezTo>
                  <a:cubicBezTo>
                    <a:pt x="32" y="49"/>
                    <a:pt x="40" y="57"/>
                    <a:pt x="40" y="67"/>
                  </a:cubicBezTo>
                  <a:cubicBezTo>
                    <a:pt x="40" y="77"/>
                    <a:pt x="32" y="85"/>
                    <a:pt x="22" y="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1" name="Freeform 100">
              <a:extLst>
                <a:ext uri="{FF2B5EF4-FFF2-40B4-BE49-F238E27FC236}">
                  <a16:creationId xmlns:a16="http://schemas.microsoft.com/office/drawing/2014/main" xmlns="" id="{74F4F6BB-D443-4133-9FAB-C8174EE695B8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7138" y="4181475"/>
              <a:ext cx="58738" cy="60325"/>
            </a:xfrm>
            <a:custGeom>
              <a:avLst/>
              <a:gdLst>
                <a:gd name="T0" fmla="*/ 14 w 16"/>
                <a:gd name="T1" fmla="*/ 4 h 16"/>
                <a:gd name="T2" fmla="*/ 16 w 16"/>
                <a:gd name="T3" fmla="*/ 2 h 16"/>
                <a:gd name="T4" fmla="*/ 14 w 16"/>
                <a:gd name="T5" fmla="*/ 0 h 16"/>
                <a:gd name="T6" fmla="*/ 0 w 16"/>
                <a:gd name="T7" fmla="*/ 14 h 16"/>
                <a:gd name="T8" fmla="*/ 2 w 16"/>
                <a:gd name="T9" fmla="*/ 16 h 16"/>
                <a:gd name="T10" fmla="*/ 4 w 16"/>
                <a:gd name="T11" fmla="*/ 14 h 16"/>
                <a:gd name="T12" fmla="*/ 14 w 16"/>
                <a:gd name="T13" fmla="*/ 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16">
                  <a:moveTo>
                    <a:pt x="14" y="4"/>
                  </a:moveTo>
                  <a:cubicBezTo>
                    <a:pt x="15" y="4"/>
                    <a:pt x="16" y="3"/>
                    <a:pt x="16" y="2"/>
                  </a:cubicBezTo>
                  <a:cubicBezTo>
                    <a:pt x="16" y="1"/>
                    <a:pt x="15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15"/>
                    <a:pt x="1" y="16"/>
                    <a:pt x="2" y="16"/>
                  </a:cubicBezTo>
                  <a:cubicBezTo>
                    <a:pt x="3" y="16"/>
                    <a:pt x="4" y="15"/>
                    <a:pt x="4" y="14"/>
                  </a:cubicBezTo>
                  <a:cubicBezTo>
                    <a:pt x="4" y="9"/>
                    <a:pt x="8" y="4"/>
                    <a:pt x="1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2" name="Freeform 101">
              <a:extLst>
                <a:ext uri="{FF2B5EF4-FFF2-40B4-BE49-F238E27FC236}">
                  <a16:creationId xmlns:a16="http://schemas.microsoft.com/office/drawing/2014/main" xmlns="" id="{B2F74434-F82C-4D30-A647-C045CF5706E6}"/>
                </a:ext>
              </a:extLst>
            </p:cNvPr>
            <p:cNvSpPr>
              <a:spLocks/>
            </p:cNvSpPr>
            <p:nvPr/>
          </p:nvSpPr>
          <p:spPr bwMode="auto">
            <a:xfrm>
              <a:off x="6502400" y="4181475"/>
              <a:ext cx="58738" cy="60325"/>
            </a:xfrm>
            <a:custGeom>
              <a:avLst/>
              <a:gdLst>
                <a:gd name="T0" fmla="*/ 14 w 16"/>
                <a:gd name="T1" fmla="*/ 4 h 16"/>
                <a:gd name="T2" fmla="*/ 16 w 16"/>
                <a:gd name="T3" fmla="*/ 2 h 16"/>
                <a:gd name="T4" fmla="*/ 14 w 16"/>
                <a:gd name="T5" fmla="*/ 0 h 16"/>
                <a:gd name="T6" fmla="*/ 0 w 16"/>
                <a:gd name="T7" fmla="*/ 14 h 16"/>
                <a:gd name="T8" fmla="*/ 2 w 16"/>
                <a:gd name="T9" fmla="*/ 16 h 16"/>
                <a:gd name="T10" fmla="*/ 4 w 16"/>
                <a:gd name="T11" fmla="*/ 14 h 16"/>
                <a:gd name="T12" fmla="*/ 14 w 16"/>
                <a:gd name="T13" fmla="*/ 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16">
                  <a:moveTo>
                    <a:pt x="14" y="4"/>
                  </a:moveTo>
                  <a:cubicBezTo>
                    <a:pt x="15" y="4"/>
                    <a:pt x="16" y="3"/>
                    <a:pt x="16" y="2"/>
                  </a:cubicBezTo>
                  <a:cubicBezTo>
                    <a:pt x="16" y="1"/>
                    <a:pt x="15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15"/>
                    <a:pt x="1" y="16"/>
                    <a:pt x="2" y="16"/>
                  </a:cubicBezTo>
                  <a:cubicBezTo>
                    <a:pt x="3" y="16"/>
                    <a:pt x="4" y="15"/>
                    <a:pt x="4" y="14"/>
                  </a:cubicBezTo>
                  <a:cubicBezTo>
                    <a:pt x="4" y="9"/>
                    <a:pt x="8" y="4"/>
                    <a:pt x="1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43" name="Group 142">
            <a:extLst>
              <a:ext uri="{FF2B5EF4-FFF2-40B4-BE49-F238E27FC236}">
                <a16:creationId xmlns:a16="http://schemas.microsoft.com/office/drawing/2014/main" xmlns="" id="{B555D204-04C0-4B5D-B9C5-B917520A9A2E}"/>
              </a:ext>
            </a:extLst>
          </p:cNvPr>
          <p:cNvGrpSpPr/>
          <p:nvPr/>
        </p:nvGrpSpPr>
        <p:grpSpPr>
          <a:xfrm>
            <a:off x="2274900" y="4402389"/>
            <a:ext cx="327603" cy="329045"/>
            <a:chOff x="8445501" y="1787525"/>
            <a:chExt cx="360363" cy="361950"/>
          </a:xfrm>
          <a:solidFill>
            <a:schemeClr val="bg1"/>
          </a:solidFill>
        </p:grpSpPr>
        <p:sp>
          <p:nvSpPr>
            <p:cNvPr id="144" name="Freeform 311">
              <a:extLst>
                <a:ext uri="{FF2B5EF4-FFF2-40B4-BE49-F238E27FC236}">
                  <a16:creationId xmlns:a16="http://schemas.microsoft.com/office/drawing/2014/main" xmlns="" id="{EE575B1A-F0D1-48C3-949C-EF7E39C3CFE4}"/>
                </a:ext>
              </a:extLst>
            </p:cNvPr>
            <p:cNvSpPr>
              <a:spLocks/>
            </p:cNvSpPr>
            <p:nvPr/>
          </p:nvSpPr>
          <p:spPr bwMode="auto">
            <a:xfrm>
              <a:off x="8489951" y="2089150"/>
              <a:ext cx="104775" cy="60325"/>
            </a:xfrm>
            <a:custGeom>
              <a:avLst/>
              <a:gdLst>
                <a:gd name="T0" fmla="*/ 26 w 28"/>
                <a:gd name="T1" fmla="*/ 0 h 16"/>
                <a:gd name="T2" fmla="*/ 24 w 28"/>
                <a:gd name="T3" fmla="*/ 0 h 16"/>
                <a:gd name="T4" fmla="*/ 4 w 28"/>
                <a:gd name="T5" fmla="*/ 0 h 16"/>
                <a:gd name="T6" fmla="*/ 2 w 28"/>
                <a:gd name="T7" fmla="*/ 0 h 16"/>
                <a:gd name="T8" fmla="*/ 0 w 28"/>
                <a:gd name="T9" fmla="*/ 2 h 16"/>
                <a:gd name="T10" fmla="*/ 0 w 28"/>
                <a:gd name="T11" fmla="*/ 14 h 16"/>
                <a:gd name="T12" fmla="*/ 2 w 28"/>
                <a:gd name="T13" fmla="*/ 16 h 16"/>
                <a:gd name="T14" fmla="*/ 26 w 28"/>
                <a:gd name="T15" fmla="*/ 16 h 16"/>
                <a:gd name="T16" fmla="*/ 28 w 28"/>
                <a:gd name="T17" fmla="*/ 14 h 16"/>
                <a:gd name="T18" fmla="*/ 28 w 28"/>
                <a:gd name="T19" fmla="*/ 2 h 16"/>
                <a:gd name="T20" fmla="*/ 26 w 28"/>
                <a:gd name="T21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" h="16">
                  <a:moveTo>
                    <a:pt x="26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1" y="16"/>
                    <a:pt x="2" y="16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7" y="16"/>
                    <a:pt x="28" y="15"/>
                    <a:pt x="28" y="14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8" y="1"/>
                    <a:pt x="27" y="0"/>
                    <a:pt x="2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5" name="Freeform 312">
              <a:extLst>
                <a:ext uri="{FF2B5EF4-FFF2-40B4-BE49-F238E27FC236}">
                  <a16:creationId xmlns:a16="http://schemas.microsoft.com/office/drawing/2014/main" xmlns="" id="{624547C3-1963-41BA-ADEA-2C0545F77647}"/>
                </a:ext>
              </a:extLst>
            </p:cNvPr>
            <p:cNvSpPr>
              <a:spLocks/>
            </p:cNvSpPr>
            <p:nvPr/>
          </p:nvSpPr>
          <p:spPr bwMode="auto">
            <a:xfrm>
              <a:off x="8445501" y="1882775"/>
              <a:ext cx="134938" cy="190500"/>
            </a:xfrm>
            <a:custGeom>
              <a:avLst/>
              <a:gdLst>
                <a:gd name="T0" fmla="*/ 15 w 36"/>
                <a:gd name="T1" fmla="*/ 51 h 51"/>
                <a:gd name="T2" fmla="*/ 36 w 36"/>
                <a:gd name="T3" fmla="*/ 51 h 51"/>
                <a:gd name="T4" fmla="*/ 36 w 36"/>
                <a:gd name="T5" fmla="*/ 39 h 51"/>
                <a:gd name="T6" fmla="*/ 36 w 36"/>
                <a:gd name="T7" fmla="*/ 38 h 51"/>
                <a:gd name="T8" fmla="*/ 30 w 36"/>
                <a:gd name="T9" fmla="*/ 22 h 51"/>
                <a:gd name="T10" fmla="*/ 22 w 36"/>
                <a:gd name="T11" fmla="*/ 19 h 51"/>
                <a:gd name="T12" fmla="*/ 19 w 36"/>
                <a:gd name="T13" fmla="*/ 27 h 51"/>
                <a:gd name="T14" fmla="*/ 20 w 36"/>
                <a:gd name="T15" fmla="*/ 33 h 51"/>
                <a:gd name="T16" fmla="*/ 14 w 36"/>
                <a:gd name="T17" fmla="*/ 26 h 51"/>
                <a:gd name="T18" fmla="*/ 7 w 36"/>
                <a:gd name="T19" fmla="*/ 2 h 51"/>
                <a:gd name="T20" fmla="*/ 1 w 36"/>
                <a:gd name="T21" fmla="*/ 1 h 51"/>
                <a:gd name="T22" fmla="*/ 0 w 36"/>
                <a:gd name="T23" fmla="*/ 3 h 51"/>
                <a:gd name="T24" fmla="*/ 0 w 36"/>
                <a:gd name="T25" fmla="*/ 35 h 51"/>
                <a:gd name="T26" fmla="*/ 1 w 36"/>
                <a:gd name="T27" fmla="*/ 37 h 51"/>
                <a:gd name="T28" fmla="*/ 15 w 36"/>
                <a:gd name="T29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6" h="51">
                  <a:moveTo>
                    <a:pt x="15" y="51"/>
                  </a:moveTo>
                  <a:cubicBezTo>
                    <a:pt x="36" y="51"/>
                    <a:pt x="36" y="51"/>
                    <a:pt x="36" y="51"/>
                  </a:cubicBezTo>
                  <a:cubicBezTo>
                    <a:pt x="36" y="39"/>
                    <a:pt x="36" y="39"/>
                    <a:pt x="36" y="39"/>
                  </a:cubicBezTo>
                  <a:cubicBezTo>
                    <a:pt x="36" y="39"/>
                    <a:pt x="36" y="39"/>
                    <a:pt x="36" y="38"/>
                  </a:cubicBezTo>
                  <a:cubicBezTo>
                    <a:pt x="36" y="38"/>
                    <a:pt x="32" y="26"/>
                    <a:pt x="30" y="22"/>
                  </a:cubicBezTo>
                  <a:cubicBezTo>
                    <a:pt x="28" y="19"/>
                    <a:pt x="24" y="18"/>
                    <a:pt x="22" y="19"/>
                  </a:cubicBezTo>
                  <a:cubicBezTo>
                    <a:pt x="20" y="20"/>
                    <a:pt x="18" y="23"/>
                    <a:pt x="19" y="27"/>
                  </a:cubicBezTo>
                  <a:cubicBezTo>
                    <a:pt x="20" y="33"/>
                    <a:pt x="20" y="33"/>
                    <a:pt x="20" y="33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13"/>
                    <a:pt x="12" y="5"/>
                    <a:pt x="7" y="2"/>
                  </a:cubicBezTo>
                  <a:cubicBezTo>
                    <a:pt x="4" y="0"/>
                    <a:pt x="2" y="1"/>
                    <a:pt x="1" y="1"/>
                  </a:cubicBezTo>
                  <a:cubicBezTo>
                    <a:pt x="1" y="1"/>
                    <a:pt x="0" y="2"/>
                    <a:pt x="0" y="3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6"/>
                    <a:pt x="0" y="36"/>
                    <a:pt x="1" y="37"/>
                  </a:cubicBezTo>
                  <a:cubicBezTo>
                    <a:pt x="4" y="39"/>
                    <a:pt x="12" y="48"/>
                    <a:pt x="15" y="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6" name="Freeform 313">
              <a:extLst>
                <a:ext uri="{FF2B5EF4-FFF2-40B4-BE49-F238E27FC236}">
                  <a16:creationId xmlns:a16="http://schemas.microsoft.com/office/drawing/2014/main" xmlns="" id="{1543A691-F907-4EA9-BA06-783EB45A8ED5}"/>
                </a:ext>
              </a:extLst>
            </p:cNvPr>
            <p:cNvSpPr>
              <a:spLocks/>
            </p:cNvSpPr>
            <p:nvPr/>
          </p:nvSpPr>
          <p:spPr bwMode="auto">
            <a:xfrm>
              <a:off x="8655051" y="2089150"/>
              <a:ext cx="104775" cy="60325"/>
            </a:xfrm>
            <a:custGeom>
              <a:avLst/>
              <a:gdLst>
                <a:gd name="T0" fmla="*/ 26 w 28"/>
                <a:gd name="T1" fmla="*/ 0 h 16"/>
                <a:gd name="T2" fmla="*/ 24 w 28"/>
                <a:gd name="T3" fmla="*/ 0 h 16"/>
                <a:gd name="T4" fmla="*/ 4 w 28"/>
                <a:gd name="T5" fmla="*/ 0 h 16"/>
                <a:gd name="T6" fmla="*/ 2 w 28"/>
                <a:gd name="T7" fmla="*/ 0 h 16"/>
                <a:gd name="T8" fmla="*/ 0 w 28"/>
                <a:gd name="T9" fmla="*/ 2 h 16"/>
                <a:gd name="T10" fmla="*/ 0 w 28"/>
                <a:gd name="T11" fmla="*/ 14 h 16"/>
                <a:gd name="T12" fmla="*/ 2 w 28"/>
                <a:gd name="T13" fmla="*/ 16 h 16"/>
                <a:gd name="T14" fmla="*/ 26 w 28"/>
                <a:gd name="T15" fmla="*/ 16 h 16"/>
                <a:gd name="T16" fmla="*/ 28 w 28"/>
                <a:gd name="T17" fmla="*/ 14 h 16"/>
                <a:gd name="T18" fmla="*/ 28 w 28"/>
                <a:gd name="T19" fmla="*/ 2 h 16"/>
                <a:gd name="T20" fmla="*/ 26 w 28"/>
                <a:gd name="T21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" h="16">
                  <a:moveTo>
                    <a:pt x="26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1" y="16"/>
                    <a:pt x="2" y="16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7" y="16"/>
                    <a:pt x="28" y="15"/>
                    <a:pt x="28" y="14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8" y="1"/>
                    <a:pt x="27" y="0"/>
                    <a:pt x="2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7" name="Freeform 314">
              <a:extLst>
                <a:ext uri="{FF2B5EF4-FFF2-40B4-BE49-F238E27FC236}">
                  <a16:creationId xmlns:a16="http://schemas.microsoft.com/office/drawing/2014/main" xmlns="" id="{CF4CB9CA-B76E-4B1D-9EC9-10E9F0A83493}"/>
                </a:ext>
              </a:extLst>
            </p:cNvPr>
            <p:cNvSpPr>
              <a:spLocks/>
            </p:cNvSpPr>
            <p:nvPr/>
          </p:nvSpPr>
          <p:spPr bwMode="auto">
            <a:xfrm>
              <a:off x="8670926" y="1882775"/>
              <a:ext cx="134938" cy="190500"/>
            </a:xfrm>
            <a:custGeom>
              <a:avLst/>
              <a:gdLst>
                <a:gd name="T0" fmla="*/ 35 w 36"/>
                <a:gd name="T1" fmla="*/ 1 h 51"/>
                <a:gd name="T2" fmla="*/ 29 w 36"/>
                <a:gd name="T3" fmla="*/ 2 h 51"/>
                <a:gd name="T4" fmla="*/ 22 w 36"/>
                <a:gd name="T5" fmla="*/ 26 h 51"/>
                <a:gd name="T6" fmla="*/ 16 w 36"/>
                <a:gd name="T7" fmla="*/ 33 h 51"/>
                <a:gd name="T8" fmla="*/ 17 w 36"/>
                <a:gd name="T9" fmla="*/ 27 h 51"/>
                <a:gd name="T10" fmla="*/ 14 w 36"/>
                <a:gd name="T11" fmla="*/ 19 h 51"/>
                <a:gd name="T12" fmla="*/ 6 w 36"/>
                <a:gd name="T13" fmla="*/ 22 h 51"/>
                <a:gd name="T14" fmla="*/ 0 w 36"/>
                <a:gd name="T15" fmla="*/ 38 h 51"/>
                <a:gd name="T16" fmla="*/ 0 w 36"/>
                <a:gd name="T17" fmla="*/ 39 h 51"/>
                <a:gd name="T18" fmla="*/ 0 w 36"/>
                <a:gd name="T19" fmla="*/ 51 h 51"/>
                <a:gd name="T20" fmla="*/ 21 w 36"/>
                <a:gd name="T21" fmla="*/ 51 h 51"/>
                <a:gd name="T22" fmla="*/ 35 w 36"/>
                <a:gd name="T23" fmla="*/ 36 h 51"/>
                <a:gd name="T24" fmla="*/ 36 w 36"/>
                <a:gd name="T25" fmla="*/ 35 h 51"/>
                <a:gd name="T26" fmla="*/ 36 w 36"/>
                <a:gd name="T27" fmla="*/ 3 h 51"/>
                <a:gd name="T28" fmla="*/ 35 w 36"/>
                <a:gd name="T29" fmla="*/ 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6" h="51">
                  <a:moveTo>
                    <a:pt x="35" y="1"/>
                  </a:moveTo>
                  <a:cubicBezTo>
                    <a:pt x="34" y="1"/>
                    <a:pt x="32" y="0"/>
                    <a:pt x="29" y="2"/>
                  </a:cubicBezTo>
                  <a:cubicBezTo>
                    <a:pt x="24" y="5"/>
                    <a:pt x="22" y="13"/>
                    <a:pt x="22" y="26"/>
                  </a:cubicBezTo>
                  <a:cubicBezTo>
                    <a:pt x="16" y="33"/>
                    <a:pt x="16" y="33"/>
                    <a:pt x="16" y="33"/>
                  </a:cubicBezTo>
                  <a:cubicBezTo>
                    <a:pt x="17" y="27"/>
                    <a:pt x="17" y="27"/>
                    <a:pt x="17" y="27"/>
                  </a:cubicBezTo>
                  <a:cubicBezTo>
                    <a:pt x="18" y="23"/>
                    <a:pt x="16" y="20"/>
                    <a:pt x="14" y="19"/>
                  </a:cubicBezTo>
                  <a:cubicBezTo>
                    <a:pt x="12" y="18"/>
                    <a:pt x="8" y="19"/>
                    <a:pt x="6" y="22"/>
                  </a:cubicBezTo>
                  <a:cubicBezTo>
                    <a:pt x="4" y="26"/>
                    <a:pt x="0" y="38"/>
                    <a:pt x="0" y="38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21" y="51"/>
                    <a:pt x="21" y="51"/>
                    <a:pt x="21" y="51"/>
                  </a:cubicBezTo>
                  <a:cubicBezTo>
                    <a:pt x="24" y="48"/>
                    <a:pt x="33" y="39"/>
                    <a:pt x="35" y="36"/>
                  </a:cubicBezTo>
                  <a:cubicBezTo>
                    <a:pt x="36" y="36"/>
                    <a:pt x="36" y="36"/>
                    <a:pt x="36" y="35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2"/>
                    <a:pt x="35" y="1"/>
                    <a:pt x="35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8" name="Freeform 315">
              <a:extLst>
                <a:ext uri="{FF2B5EF4-FFF2-40B4-BE49-F238E27FC236}">
                  <a16:creationId xmlns:a16="http://schemas.microsoft.com/office/drawing/2014/main" xmlns="" id="{D604A0A1-7B80-4D87-81D5-63F37523B798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9488" y="1863725"/>
              <a:ext cx="52388" cy="82550"/>
            </a:xfrm>
            <a:custGeom>
              <a:avLst/>
              <a:gdLst>
                <a:gd name="T0" fmla="*/ 33 w 33"/>
                <a:gd name="T1" fmla="*/ 0 h 52"/>
                <a:gd name="T2" fmla="*/ 0 w 33"/>
                <a:gd name="T3" fmla="*/ 0 h 52"/>
                <a:gd name="T4" fmla="*/ 16 w 33"/>
                <a:gd name="T5" fmla="*/ 52 h 52"/>
                <a:gd name="T6" fmla="*/ 33 w 33"/>
                <a:gd name="T7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3" h="52">
                  <a:moveTo>
                    <a:pt x="33" y="0"/>
                  </a:moveTo>
                  <a:lnTo>
                    <a:pt x="0" y="0"/>
                  </a:lnTo>
                  <a:lnTo>
                    <a:pt x="16" y="52"/>
                  </a:lnTo>
                  <a:lnTo>
                    <a:pt x="3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9" name="Freeform 316">
              <a:extLst>
                <a:ext uri="{FF2B5EF4-FFF2-40B4-BE49-F238E27FC236}">
                  <a16:creationId xmlns:a16="http://schemas.microsoft.com/office/drawing/2014/main" xmlns="" id="{0CE7C318-15AC-4666-8348-A81C8714578F}"/>
                </a:ext>
              </a:extLst>
            </p:cNvPr>
            <p:cNvSpPr>
              <a:spLocks/>
            </p:cNvSpPr>
            <p:nvPr/>
          </p:nvSpPr>
          <p:spPr bwMode="auto">
            <a:xfrm>
              <a:off x="8523288" y="1795463"/>
              <a:ext cx="53975" cy="52388"/>
            </a:xfrm>
            <a:custGeom>
              <a:avLst/>
              <a:gdLst>
                <a:gd name="T0" fmla="*/ 34 w 34"/>
                <a:gd name="T1" fmla="*/ 33 h 33"/>
                <a:gd name="T2" fmla="*/ 26 w 34"/>
                <a:gd name="T3" fmla="*/ 0 h 33"/>
                <a:gd name="T4" fmla="*/ 0 w 34"/>
                <a:gd name="T5" fmla="*/ 33 h 33"/>
                <a:gd name="T6" fmla="*/ 34 w 34"/>
                <a:gd name="T7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" h="33">
                  <a:moveTo>
                    <a:pt x="34" y="33"/>
                  </a:moveTo>
                  <a:lnTo>
                    <a:pt x="26" y="0"/>
                  </a:lnTo>
                  <a:lnTo>
                    <a:pt x="0" y="33"/>
                  </a:lnTo>
                  <a:lnTo>
                    <a:pt x="34" y="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0" name="Freeform 317">
              <a:extLst>
                <a:ext uri="{FF2B5EF4-FFF2-40B4-BE49-F238E27FC236}">
                  <a16:creationId xmlns:a16="http://schemas.microsoft.com/office/drawing/2014/main" xmlns="" id="{B45D99F1-6FF1-48AC-9C15-64E6CAD85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580438" y="1787525"/>
              <a:ext cx="90488" cy="60325"/>
            </a:xfrm>
            <a:custGeom>
              <a:avLst/>
              <a:gdLst>
                <a:gd name="T0" fmla="*/ 0 w 57"/>
                <a:gd name="T1" fmla="*/ 0 h 38"/>
                <a:gd name="T2" fmla="*/ 7 w 57"/>
                <a:gd name="T3" fmla="*/ 38 h 38"/>
                <a:gd name="T4" fmla="*/ 47 w 57"/>
                <a:gd name="T5" fmla="*/ 38 h 38"/>
                <a:gd name="T6" fmla="*/ 57 w 57"/>
                <a:gd name="T7" fmla="*/ 0 h 38"/>
                <a:gd name="T8" fmla="*/ 0 w 57"/>
                <a:gd name="T9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" h="38">
                  <a:moveTo>
                    <a:pt x="0" y="0"/>
                  </a:moveTo>
                  <a:lnTo>
                    <a:pt x="7" y="38"/>
                  </a:lnTo>
                  <a:lnTo>
                    <a:pt x="47" y="38"/>
                  </a:lnTo>
                  <a:lnTo>
                    <a:pt x="57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1" name="Freeform 318">
              <a:extLst>
                <a:ext uri="{FF2B5EF4-FFF2-40B4-BE49-F238E27FC236}">
                  <a16:creationId xmlns:a16="http://schemas.microsoft.com/office/drawing/2014/main" xmlns="" id="{7EEEEC5C-C37F-497C-BBFD-83B5D212FB4E}"/>
                </a:ext>
              </a:extLst>
            </p:cNvPr>
            <p:cNvSpPr>
              <a:spLocks/>
            </p:cNvSpPr>
            <p:nvPr/>
          </p:nvSpPr>
          <p:spPr bwMode="auto">
            <a:xfrm>
              <a:off x="8632826" y="1863725"/>
              <a:ext cx="93663" cy="104775"/>
            </a:xfrm>
            <a:custGeom>
              <a:avLst/>
              <a:gdLst>
                <a:gd name="T0" fmla="*/ 21 w 59"/>
                <a:gd name="T1" fmla="*/ 0 h 66"/>
                <a:gd name="T2" fmla="*/ 0 w 59"/>
                <a:gd name="T3" fmla="*/ 66 h 66"/>
                <a:gd name="T4" fmla="*/ 0 w 59"/>
                <a:gd name="T5" fmla="*/ 66 h 66"/>
                <a:gd name="T6" fmla="*/ 59 w 59"/>
                <a:gd name="T7" fmla="*/ 0 h 66"/>
                <a:gd name="T8" fmla="*/ 21 w 59"/>
                <a:gd name="T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66">
                  <a:moveTo>
                    <a:pt x="21" y="0"/>
                  </a:moveTo>
                  <a:lnTo>
                    <a:pt x="0" y="66"/>
                  </a:lnTo>
                  <a:lnTo>
                    <a:pt x="0" y="66"/>
                  </a:lnTo>
                  <a:lnTo>
                    <a:pt x="59" y="0"/>
                  </a:lnTo>
                  <a:lnTo>
                    <a:pt x="2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2" name="Freeform 319">
              <a:extLst>
                <a:ext uri="{FF2B5EF4-FFF2-40B4-BE49-F238E27FC236}">
                  <a16:creationId xmlns:a16="http://schemas.microsoft.com/office/drawing/2014/main" xmlns="" id="{D35D66BB-4AE5-4C1B-AE7D-42E97747984D}"/>
                </a:ext>
              </a:extLst>
            </p:cNvPr>
            <p:cNvSpPr>
              <a:spLocks/>
            </p:cNvSpPr>
            <p:nvPr/>
          </p:nvSpPr>
          <p:spPr bwMode="auto">
            <a:xfrm>
              <a:off x="8674101" y="1795463"/>
              <a:ext cx="52388" cy="52388"/>
            </a:xfrm>
            <a:custGeom>
              <a:avLst/>
              <a:gdLst>
                <a:gd name="T0" fmla="*/ 0 w 33"/>
                <a:gd name="T1" fmla="*/ 33 h 33"/>
                <a:gd name="T2" fmla="*/ 33 w 33"/>
                <a:gd name="T3" fmla="*/ 33 h 33"/>
                <a:gd name="T4" fmla="*/ 7 w 33"/>
                <a:gd name="T5" fmla="*/ 0 h 33"/>
                <a:gd name="T6" fmla="*/ 0 w 33"/>
                <a:gd name="T7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3" h="33">
                  <a:moveTo>
                    <a:pt x="0" y="33"/>
                  </a:moveTo>
                  <a:lnTo>
                    <a:pt x="33" y="33"/>
                  </a:lnTo>
                  <a:lnTo>
                    <a:pt x="7" y="0"/>
                  </a:lnTo>
                  <a:lnTo>
                    <a:pt x="0" y="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3" name="Freeform 320">
              <a:extLst>
                <a:ext uri="{FF2B5EF4-FFF2-40B4-BE49-F238E27FC236}">
                  <a16:creationId xmlns:a16="http://schemas.microsoft.com/office/drawing/2014/main" xmlns="" id="{E2CBDEE0-3B67-4015-80BE-5142BCBB7DD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23288" y="1863725"/>
              <a:ext cx="95250" cy="107950"/>
            </a:xfrm>
            <a:custGeom>
              <a:avLst/>
              <a:gdLst>
                <a:gd name="T0" fmla="*/ 60 w 60"/>
                <a:gd name="T1" fmla="*/ 66 h 68"/>
                <a:gd name="T2" fmla="*/ 36 w 60"/>
                <a:gd name="T3" fmla="*/ 0 h 68"/>
                <a:gd name="T4" fmla="*/ 0 w 60"/>
                <a:gd name="T5" fmla="*/ 0 h 68"/>
                <a:gd name="T6" fmla="*/ 60 w 60"/>
                <a:gd name="T7" fmla="*/ 68 h 68"/>
                <a:gd name="T8" fmla="*/ 60 w 60"/>
                <a:gd name="T9" fmla="*/ 66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68">
                  <a:moveTo>
                    <a:pt x="60" y="66"/>
                  </a:moveTo>
                  <a:lnTo>
                    <a:pt x="36" y="0"/>
                  </a:lnTo>
                  <a:lnTo>
                    <a:pt x="0" y="0"/>
                  </a:lnTo>
                  <a:lnTo>
                    <a:pt x="60" y="68"/>
                  </a:lnTo>
                  <a:lnTo>
                    <a:pt x="60" y="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54" name="Group 153">
            <a:extLst>
              <a:ext uri="{FF2B5EF4-FFF2-40B4-BE49-F238E27FC236}">
                <a16:creationId xmlns:a16="http://schemas.microsoft.com/office/drawing/2014/main" xmlns="" id="{4B050CE3-4688-4017-9622-5795EE949346}"/>
              </a:ext>
            </a:extLst>
          </p:cNvPr>
          <p:cNvGrpSpPr/>
          <p:nvPr/>
        </p:nvGrpSpPr>
        <p:grpSpPr>
          <a:xfrm>
            <a:off x="3149823" y="2070880"/>
            <a:ext cx="259773" cy="327603"/>
            <a:chOff x="3427413" y="2509838"/>
            <a:chExt cx="285750" cy="360363"/>
          </a:xfrm>
          <a:solidFill>
            <a:schemeClr val="bg1"/>
          </a:solidFill>
        </p:grpSpPr>
        <p:sp>
          <p:nvSpPr>
            <p:cNvPr id="155" name="Freeform 308">
              <a:extLst>
                <a:ext uri="{FF2B5EF4-FFF2-40B4-BE49-F238E27FC236}">
                  <a16:creationId xmlns:a16="http://schemas.microsoft.com/office/drawing/2014/main" xmlns="" id="{A485BB62-D5D1-4392-90C2-F1F6726726FB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5838" y="2809875"/>
              <a:ext cx="88900" cy="15875"/>
            </a:xfrm>
            <a:custGeom>
              <a:avLst/>
              <a:gdLst>
                <a:gd name="T0" fmla="*/ 22 w 24"/>
                <a:gd name="T1" fmla="*/ 0 h 4"/>
                <a:gd name="T2" fmla="*/ 2 w 24"/>
                <a:gd name="T3" fmla="*/ 0 h 4"/>
                <a:gd name="T4" fmla="*/ 0 w 24"/>
                <a:gd name="T5" fmla="*/ 2 h 4"/>
                <a:gd name="T6" fmla="*/ 2 w 24"/>
                <a:gd name="T7" fmla="*/ 4 h 4"/>
                <a:gd name="T8" fmla="*/ 22 w 24"/>
                <a:gd name="T9" fmla="*/ 4 h 4"/>
                <a:gd name="T10" fmla="*/ 24 w 24"/>
                <a:gd name="T11" fmla="*/ 2 h 4"/>
                <a:gd name="T12" fmla="*/ 22 w 24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4">
                  <a:moveTo>
                    <a:pt x="2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3" y="4"/>
                    <a:pt x="24" y="3"/>
                    <a:pt x="24" y="2"/>
                  </a:cubicBezTo>
                  <a:cubicBezTo>
                    <a:pt x="24" y="1"/>
                    <a:pt x="23" y="0"/>
                    <a:pt x="2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6" name="Freeform 309">
              <a:extLst>
                <a:ext uri="{FF2B5EF4-FFF2-40B4-BE49-F238E27FC236}">
                  <a16:creationId xmlns:a16="http://schemas.microsoft.com/office/drawing/2014/main" xmlns="" id="{7B1D72D5-6B88-47C2-95BF-3A5CD5B226A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5838" y="2840038"/>
              <a:ext cx="88900" cy="30163"/>
            </a:xfrm>
            <a:custGeom>
              <a:avLst/>
              <a:gdLst>
                <a:gd name="T0" fmla="*/ 22 w 24"/>
                <a:gd name="T1" fmla="*/ 0 h 8"/>
                <a:gd name="T2" fmla="*/ 2 w 24"/>
                <a:gd name="T3" fmla="*/ 0 h 8"/>
                <a:gd name="T4" fmla="*/ 0 w 24"/>
                <a:gd name="T5" fmla="*/ 2 h 8"/>
                <a:gd name="T6" fmla="*/ 2 w 24"/>
                <a:gd name="T7" fmla="*/ 4 h 8"/>
                <a:gd name="T8" fmla="*/ 10 w 24"/>
                <a:gd name="T9" fmla="*/ 4 h 8"/>
                <a:gd name="T10" fmla="*/ 10 w 24"/>
                <a:gd name="T11" fmla="*/ 6 h 8"/>
                <a:gd name="T12" fmla="*/ 12 w 24"/>
                <a:gd name="T13" fmla="*/ 8 h 8"/>
                <a:gd name="T14" fmla="*/ 14 w 24"/>
                <a:gd name="T15" fmla="*/ 6 h 8"/>
                <a:gd name="T16" fmla="*/ 14 w 24"/>
                <a:gd name="T17" fmla="*/ 4 h 8"/>
                <a:gd name="T18" fmla="*/ 22 w 24"/>
                <a:gd name="T19" fmla="*/ 4 h 8"/>
                <a:gd name="T20" fmla="*/ 24 w 24"/>
                <a:gd name="T21" fmla="*/ 2 h 8"/>
                <a:gd name="T22" fmla="*/ 22 w 24"/>
                <a:gd name="T2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" h="8">
                  <a:moveTo>
                    <a:pt x="2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0" y="7"/>
                    <a:pt x="11" y="8"/>
                    <a:pt x="12" y="8"/>
                  </a:cubicBezTo>
                  <a:cubicBezTo>
                    <a:pt x="13" y="8"/>
                    <a:pt x="14" y="7"/>
                    <a:pt x="14" y="6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3" y="4"/>
                    <a:pt x="24" y="3"/>
                    <a:pt x="24" y="2"/>
                  </a:cubicBezTo>
                  <a:cubicBezTo>
                    <a:pt x="24" y="1"/>
                    <a:pt x="23" y="0"/>
                    <a:pt x="2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7" name="Freeform 310">
              <a:extLst>
                <a:ext uri="{FF2B5EF4-FFF2-40B4-BE49-F238E27FC236}">
                  <a16:creationId xmlns:a16="http://schemas.microsoft.com/office/drawing/2014/main" xmlns="" id="{373C3365-5E4E-4FCA-83F0-00105A6E740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7413" y="2509838"/>
              <a:ext cx="285750" cy="285750"/>
            </a:xfrm>
            <a:custGeom>
              <a:avLst/>
              <a:gdLst>
                <a:gd name="T0" fmla="*/ 38 w 76"/>
                <a:gd name="T1" fmla="*/ 0 h 76"/>
                <a:gd name="T2" fmla="*/ 0 w 76"/>
                <a:gd name="T3" fmla="*/ 36 h 76"/>
                <a:gd name="T4" fmla="*/ 26 w 76"/>
                <a:gd name="T5" fmla="*/ 70 h 76"/>
                <a:gd name="T6" fmla="*/ 26 w 76"/>
                <a:gd name="T7" fmla="*/ 74 h 76"/>
                <a:gd name="T8" fmla="*/ 28 w 76"/>
                <a:gd name="T9" fmla="*/ 76 h 76"/>
                <a:gd name="T10" fmla="*/ 48 w 76"/>
                <a:gd name="T11" fmla="*/ 76 h 76"/>
                <a:gd name="T12" fmla="*/ 50 w 76"/>
                <a:gd name="T13" fmla="*/ 74 h 76"/>
                <a:gd name="T14" fmla="*/ 50 w 76"/>
                <a:gd name="T15" fmla="*/ 70 h 76"/>
                <a:gd name="T16" fmla="*/ 76 w 76"/>
                <a:gd name="T17" fmla="*/ 36 h 76"/>
                <a:gd name="T18" fmla="*/ 38 w 76"/>
                <a:gd name="T19" fmla="*/ 0 h 76"/>
                <a:gd name="T20" fmla="*/ 38 w 76"/>
                <a:gd name="T21" fmla="*/ 34 h 76"/>
                <a:gd name="T22" fmla="*/ 48 w 76"/>
                <a:gd name="T23" fmla="*/ 44 h 76"/>
                <a:gd name="T24" fmla="*/ 40 w 76"/>
                <a:gd name="T25" fmla="*/ 54 h 76"/>
                <a:gd name="T26" fmla="*/ 40 w 76"/>
                <a:gd name="T27" fmla="*/ 57 h 76"/>
                <a:gd name="T28" fmla="*/ 38 w 76"/>
                <a:gd name="T29" fmla="*/ 59 h 76"/>
                <a:gd name="T30" fmla="*/ 36 w 76"/>
                <a:gd name="T31" fmla="*/ 57 h 76"/>
                <a:gd name="T32" fmla="*/ 36 w 76"/>
                <a:gd name="T33" fmla="*/ 54 h 76"/>
                <a:gd name="T34" fmla="*/ 28 w 76"/>
                <a:gd name="T35" fmla="*/ 44 h 76"/>
                <a:gd name="T36" fmla="*/ 30 w 76"/>
                <a:gd name="T37" fmla="*/ 42 h 76"/>
                <a:gd name="T38" fmla="*/ 32 w 76"/>
                <a:gd name="T39" fmla="*/ 44 h 76"/>
                <a:gd name="T40" fmla="*/ 38 w 76"/>
                <a:gd name="T41" fmla="*/ 50 h 76"/>
                <a:gd name="T42" fmla="*/ 44 w 76"/>
                <a:gd name="T43" fmla="*/ 44 h 76"/>
                <a:gd name="T44" fmla="*/ 38 w 76"/>
                <a:gd name="T45" fmla="*/ 38 h 76"/>
                <a:gd name="T46" fmla="*/ 28 w 76"/>
                <a:gd name="T47" fmla="*/ 28 h 76"/>
                <a:gd name="T48" fmla="*/ 36 w 76"/>
                <a:gd name="T49" fmla="*/ 18 h 76"/>
                <a:gd name="T50" fmla="*/ 36 w 76"/>
                <a:gd name="T51" fmla="*/ 14 h 76"/>
                <a:gd name="T52" fmla="*/ 38 w 76"/>
                <a:gd name="T53" fmla="*/ 12 h 76"/>
                <a:gd name="T54" fmla="*/ 40 w 76"/>
                <a:gd name="T55" fmla="*/ 14 h 76"/>
                <a:gd name="T56" fmla="*/ 40 w 76"/>
                <a:gd name="T57" fmla="*/ 18 h 76"/>
                <a:gd name="T58" fmla="*/ 48 w 76"/>
                <a:gd name="T59" fmla="*/ 28 h 76"/>
                <a:gd name="T60" fmla="*/ 46 w 76"/>
                <a:gd name="T61" fmla="*/ 30 h 76"/>
                <a:gd name="T62" fmla="*/ 44 w 76"/>
                <a:gd name="T63" fmla="*/ 28 h 76"/>
                <a:gd name="T64" fmla="*/ 38 w 76"/>
                <a:gd name="T65" fmla="*/ 21 h 76"/>
                <a:gd name="T66" fmla="*/ 32 w 76"/>
                <a:gd name="T67" fmla="*/ 28 h 76"/>
                <a:gd name="T68" fmla="*/ 38 w 76"/>
                <a:gd name="T69" fmla="*/ 34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76" h="76">
                  <a:moveTo>
                    <a:pt x="38" y="0"/>
                  </a:moveTo>
                  <a:cubicBezTo>
                    <a:pt x="17" y="0"/>
                    <a:pt x="0" y="16"/>
                    <a:pt x="0" y="36"/>
                  </a:cubicBezTo>
                  <a:cubicBezTo>
                    <a:pt x="0" y="51"/>
                    <a:pt x="11" y="65"/>
                    <a:pt x="26" y="70"/>
                  </a:cubicBezTo>
                  <a:cubicBezTo>
                    <a:pt x="26" y="74"/>
                    <a:pt x="26" y="74"/>
                    <a:pt x="26" y="74"/>
                  </a:cubicBezTo>
                  <a:cubicBezTo>
                    <a:pt x="26" y="75"/>
                    <a:pt x="27" y="76"/>
                    <a:pt x="28" y="76"/>
                  </a:cubicBezTo>
                  <a:cubicBezTo>
                    <a:pt x="48" y="76"/>
                    <a:pt x="48" y="76"/>
                    <a:pt x="48" y="76"/>
                  </a:cubicBezTo>
                  <a:cubicBezTo>
                    <a:pt x="49" y="76"/>
                    <a:pt x="50" y="75"/>
                    <a:pt x="50" y="74"/>
                  </a:cubicBezTo>
                  <a:cubicBezTo>
                    <a:pt x="50" y="70"/>
                    <a:pt x="50" y="70"/>
                    <a:pt x="50" y="70"/>
                  </a:cubicBezTo>
                  <a:cubicBezTo>
                    <a:pt x="65" y="65"/>
                    <a:pt x="76" y="51"/>
                    <a:pt x="76" y="36"/>
                  </a:cubicBezTo>
                  <a:cubicBezTo>
                    <a:pt x="76" y="16"/>
                    <a:pt x="59" y="0"/>
                    <a:pt x="38" y="0"/>
                  </a:cubicBezTo>
                  <a:close/>
                  <a:moveTo>
                    <a:pt x="38" y="34"/>
                  </a:moveTo>
                  <a:cubicBezTo>
                    <a:pt x="44" y="34"/>
                    <a:pt x="48" y="38"/>
                    <a:pt x="48" y="44"/>
                  </a:cubicBezTo>
                  <a:cubicBezTo>
                    <a:pt x="48" y="49"/>
                    <a:pt x="45" y="53"/>
                    <a:pt x="40" y="54"/>
                  </a:cubicBezTo>
                  <a:cubicBezTo>
                    <a:pt x="40" y="57"/>
                    <a:pt x="40" y="57"/>
                    <a:pt x="40" y="57"/>
                  </a:cubicBezTo>
                  <a:cubicBezTo>
                    <a:pt x="40" y="59"/>
                    <a:pt x="39" y="59"/>
                    <a:pt x="38" y="59"/>
                  </a:cubicBezTo>
                  <a:cubicBezTo>
                    <a:pt x="37" y="59"/>
                    <a:pt x="36" y="59"/>
                    <a:pt x="36" y="57"/>
                  </a:cubicBezTo>
                  <a:cubicBezTo>
                    <a:pt x="36" y="54"/>
                    <a:pt x="36" y="54"/>
                    <a:pt x="36" y="54"/>
                  </a:cubicBezTo>
                  <a:cubicBezTo>
                    <a:pt x="31" y="53"/>
                    <a:pt x="28" y="49"/>
                    <a:pt x="28" y="44"/>
                  </a:cubicBezTo>
                  <a:cubicBezTo>
                    <a:pt x="28" y="43"/>
                    <a:pt x="29" y="42"/>
                    <a:pt x="30" y="42"/>
                  </a:cubicBezTo>
                  <a:cubicBezTo>
                    <a:pt x="31" y="42"/>
                    <a:pt x="32" y="43"/>
                    <a:pt x="32" y="44"/>
                  </a:cubicBezTo>
                  <a:cubicBezTo>
                    <a:pt x="32" y="47"/>
                    <a:pt x="35" y="50"/>
                    <a:pt x="38" y="50"/>
                  </a:cubicBezTo>
                  <a:cubicBezTo>
                    <a:pt x="41" y="50"/>
                    <a:pt x="44" y="47"/>
                    <a:pt x="44" y="44"/>
                  </a:cubicBezTo>
                  <a:cubicBezTo>
                    <a:pt x="44" y="40"/>
                    <a:pt x="41" y="38"/>
                    <a:pt x="38" y="38"/>
                  </a:cubicBezTo>
                  <a:cubicBezTo>
                    <a:pt x="32" y="38"/>
                    <a:pt x="28" y="33"/>
                    <a:pt x="28" y="28"/>
                  </a:cubicBezTo>
                  <a:cubicBezTo>
                    <a:pt x="28" y="23"/>
                    <a:pt x="31" y="18"/>
                    <a:pt x="36" y="18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13"/>
                    <a:pt x="37" y="12"/>
                    <a:pt x="38" y="12"/>
                  </a:cubicBezTo>
                  <a:cubicBezTo>
                    <a:pt x="39" y="12"/>
                    <a:pt x="40" y="13"/>
                    <a:pt x="40" y="14"/>
                  </a:cubicBezTo>
                  <a:cubicBezTo>
                    <a:pt x="40" y="18"/>
                    <a:pt x="40" y="18"/>
                    <a:pt x="40" y="18"/>
                  </a:cubicBezTo>
                  <a:cubicBezTo>
                    <a:pt x="45" y="18"/>
                    <a:pt x="48" y="23"/>
                    <a:pt x="48" y="28"/>
                  </a:cubicBezTo>
                  <a:cubicBezTo>
                    <a:pt x="48" y="29"/>
                    <a:pt x="47" y="30"/>
                    <a:pt x="46" y="30"/>
                  </a:cubicBezTo>
                  <a:cubicBezTo>
                    <a:pt x="45" y="30"/>
                    <a:pt x="44" y="29"/>
                    <a:pt x="44" y="28"/>
                  </a:cubicBezTo>
                  <a:cubicBezTo>
                    <a:pt x="44" y="24"/>
                    <a:pt x="41" y="21"/>
                    <a:pt x="38" y="21"/>
                  </a:cubicBezTo>
                  <a:cubicBezTo>
                    <a:pt x="35" y="21"/>
                    <a:pt x="32" y="24"/>
                    <a:pt x="32" y="28"/>
                  </a:cubicBezTo>
                  <a:cubicBezTo>
                    <a:pt x="32" y="31"/>
                    <a:pt x="35" y="34"/>
                    <a:pt x="38" y="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58" name="Group 157">
            <a:extLst>
              <a:ext uri="{FF2B5EF4-FFF2-40B4-BE49-F238E27FC236}">
                <a16:creationId xmlns:a16="http://schemas.microsoft.com/office/drawing/2014/main" xmlns="" id="{BFF7EF15-49E0-4CF9-9549-D93231B13C6F}"/>
              </a:ext>
            </a:extLst>
          </p:cNvPr>
          <p:cNvGrpSpPr/>
          <p:nvPr/>
        </p:nvGrpSpPr>
        <p:grpSpPr>
          <a:xfrm>
            <a:off x="9455212" y="4051526"/>
            <a:ext cx="324715" cy="329046"/>
            <a:chOff x="5554663" y="723900"/>
            <a:chExt cx="357187" cy="361951"/>
          </a:xfrm>
          <a:solidFill>
            <a:schemeClr val="bg1"/>
          </a:solidFill>
        </p:grpSpPr>
        <p:sp>
          <p:nvSpPr>
            <p:cNvPr id="159" name="Freeform 68">
              <a:extLst>
                <a:ext uri="{FF2B5EF4-FFF2-40B4-BE49-F238E27FC236}">
                  <a16:creationId xmlns:a16="http://schemas.microsoft.com/office/drawing/2014/main" xmlns="" id="{62A6129B-E6CB-4B36-982D-977EA051A77E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4663" y="949325"/>
              <a:ext cx="131763" cy="136525"/>
            </a:xfrm>
            <a:custGeom>
              <a:avLst/>
              <a:gdLst>
                <a:gd name="T0" fmla="*/ 12 w 35"/>
                <a:gd name="T1" fmla="*/ 0 h 36"/>
                <a:gd name="T2" fmla="*/ 0 w 35"/>
                <a:gd name="T3" fmla="*/ 21 h 36"/>
                <a:gd name="T4" fmla="*/ 0 w 35"/>
                <a:gd name="T5" fmla="*/ 23 h 36"/>
                <a:gd name="T6" fmla="*/ 2 w 35"/>
                <a:gd name="T7" fmla="*/ 24 h 36"/>
                <a:gd name="T8" fmla="*/ 16 w 35"/>
                <a:gd name="T9" fmla="*/ 22 h 36"/>
                <a:gd name="T10" fmla="*/ 21 w 35"/>
                <a:gd name="T11" fmla="*/ 35 h 36"/>
                <a:gd name="T12" fmla="*/ 23 w 35"/>
                <a:gd name="T13" fmla="*/ 36 h 36"/>
                <a:gd name="T14" fmla="*/ 23 w 35"/>
                <a:gd name="T15" fmla="*/ 36 h 36"/>
                <a:gd name="T16" fmla="*/ 24 w 35"/>
                <a:gd name="T17" fmla="*/ 35 h 36"/>
                <a:gd name="T18" fmla="*/ 35 w 35"/>
                <a:gd name="T19" fmla="*/ 18 h 36"/>
                <a:gd name="T20" fmla="*/ 12 w 35"/>
                <a:gd name="T21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" h="36">
                  <a:moveTo>
                    <a:pt x="12" y="0"/>
                  </a:moveTo>
                  <a:cubicBezTo>
                    <a:pt x="0" y="21"/>
                    <a:pt x="0" y="21"/>
                    <a:pt x="0" y="21"/>
                  </a:cubicBezTo>
                  <a:cubicBezTo>
                    <a:pt x="0" y="22"/>
                    <a:pt x="0" y="22"/>
                    <a:pt x="0" y="23"/>
                  </a:cubicBezTo>
                  <a:cubicBezTo>
                    <a:pt x="1" y="24"/>
                    <a:pt x="2" y="24"/>
                    <a:pt x="2" y="24"/>
                  </a:cubicBezTo>
                  <a:cubicBezTo>
                    <a:pt x="16" y="22"/>
                    <a:pt x="16" y="22"/>
                    <a:pt x="16" y="22"/>
                  </a:cubicBezTo>
                  <a:cubicBezTo>
                    <a:pt x="21" y="35"/>
                    <a:pt x="21" y="35"/>
                    <a:pt x="21" y="35"/>
                  </a:cubicBezTo>
                  <a:cubicBezTo>
                    <a:pt x="21" y="35"/>
                    <a:pt x="22" y="36"/>
                    <a:pt x="23" y="36"/>
                  </a:cubicBezTo>
                  <a:cubicBezTo>
                    <a:pt x="23" y="36"/>
                    <a:pt x="23" y="36"/>
                    <a:pt x="23" y="36"/>
                  </a:cubicBezTo>
                  <a:cubicBezTo>
                    <a:pt x="23" y="36"/>
                    <a:pt x="24" y="36"/>
                    <a:pt x="24" y="35"/>
                  </a:cubicBezTo>
                  <a:cubicBezTo>
                    <a:pt x="35" y="18"/>
                    <a:pt x="35" y="18"/>
                    <a:pt x="35" y="18"/>
                  </a:cubicBezTo>
                  <a:cubicBezTo>
                    <a:pt x="25" y="15"/>
                    <a:pt x="17" y="8"/>
                    <a:pt x="1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60" name="Freeform 69">
              <a:extLst>
                <a:ext uri="{FF2B5EF4-FFF2-40B4-BE49-F238E27FC236}">
                  <a16:creationId xmlns:a16="http://schemas.microsoft.com/office/drawing/2014/main" xmlns="" id="{C2640178-D088-4486-90C4-0038E761D3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784850" y="954088"/>
              <a:ext cx="127000" cy="131763"/>
            </a:xfrm>
            <a:custGeom>
              <a:avLst/>
              <a:gdLst>
                <a:gd name="T0" fmla="*/ 34 w 34"/>
                <a:gd name="T1" fmla="*/ 20 h 35"/>
                <a:gd name="T2" fmla="*/ 22 w 34"/>
                <a:gd name="T3" fmla="*/ 0 h 35"/>
                <a:gd name="T4" fmla="*/ 0 w 34"/>
                <a:gd name="T5" fmla="*/ 17 h 35"/>
                <a:gd name="T6" fmla="*/ 10 w 34"/>
                <a:gd name="T7" fmla="*/ 34 h 35"/>
                <a:gd name="T8" fmla="*/ 12 w 34"/>
                <a:gd name="T9" fmla="*/ 35 h 35"/>
                <a:gd name="T10" fmla="*/ 12 w 34"/>
                <a:gd name="T11" fmla="*/ 35 h 35"/>
                <a:gd name="T12" fmla="*/ 13 w 34"/>
                <a:gd name="T13" fmla="*/ 34 h 35"/>
                <a:gd name="T14" fmla="*/ 18 w 34"/>
                <a:gd name="T15" fmla="*/ 21 h 35"/>
                <a:gd name="T16" fmla="*/ 32 w 34"/>
                <a:gd name="T17" fmla="*/ 23 h 35"/>
                <a:gd name="T18" fmla="*/ 34 w 34"/>
                <a:gd name="T19" fmla="*/ 22 h 35"/>
                <a:gd name="T20" fmla="*/ 34 w 34"/>
                <a:gd name="T21" fmla="*/ 2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4" h="35">
                  <a:moveTo>
                    <a:pt x="34" y="2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17" y="8"/>
                    <a:pt x="9" y="14"/>
                    <a:pt x="0" y="17"/>
                  </a:cubicBezTo>
                  <a:cubicBezTo>
                    <a:pt x="10" y="34"/>
                    <a:pt x="10" y="34"/>
                    <a:pt x="10" y="34"/>
                  </a:cubicBezTo>
                  <a:cubicBezTo>
                    <a:pt x="10" y="35"/>
                    <a:pt x="11" y="35"/>
                    <a:pt x="12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3" y="35"/>
                    <a:pt x="13" y="34"/>
                    <a:pt x="13" y="34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3" y="23"/>
                    <a:pt x="34" y="23"/>
                    <a:pt x="34" y="22"/>
                  </a:cubicBezTo>
                  <a:cubicBezTo>
                    <a:pt x="34" y="21"/>
                    <a:pt x="34" y="21"/>
                    <a:pt x="34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61" name="Freeform 70">
              <a:extLst>
                <a:ext uri="{FF2B5EF4-FFF2-40B4-BE49-F238E27FC236}">
                  <a16:creationId xmlns:a16="http://schemas.microsoft.com/office/drawing/2014/main" xmlns="" id="{8E9E3AFC-4178-4897-8AFB-0C082104177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92763" y="723900"/>
              <a:ext cx="285750" cy="285750"/>
            </a:xfrm>
            <a:custGeom>
              <a:avLst/>
              <a:gdLst>
                <a:gd name="T0" fmla="*/ 76 w 76"/>
                <a:gd name="T1" fmla="*/ 38 h 76"/>
                <a:gd name="T2" fmla="*/ 38 w 76"/>
                <a:gd name="T3" fmla="*/ 0 h 76"/>
                <a:gd name="T4" fmla="*/ 0 w 76"/>
                <a:gd name="T5" fmla="*/ 38 h 76"/>
                <a:gd name="T6" fmla="*/ 38 w 76"/>
                <a:gd name="T7" fmla="*/ 76 h 76"/>
                <a:gd name="T8" fmla="*/ 76 w 76"/>
                <a:gd name="T9" fmla="*/ 38 h 76"/>
                <a:gd name="T10" fmla="*/ 57 w 76"/>
                <a:gd name="T11" fmla="*/ 34 h 76"/>
                <a:gd name="T12" fmla="*/ 48 w 76"/>
                <a:gd name="T13" fmla="*/ 41 h 76"/>
                <a:gd name="T14" fmla="*/ 52 w 76"/>
                <a:gd name="T15" fmla="*/ 53 h 76"/>
                <a:gd name="T16" fmla="*/ 51 w 76"/>
                <a:gd name="T17" fmla="*/ 56 h 76"/>
                <a:gd name="T18" fmla="*/ 50 w 76"/>
                <a:gd name="T19" fmla="*/ 56 h 76"/>
                <a:gd name="T20" fmla="*/ 49 w 76"/>
                <a:gd name="T21" fmla="*/ 56 h 76"/>
                <a:gd name="T22" fmla="*/ 38 w 76"/>
                <a:gd name="T23" fmla="*/ 49 h 76"/>
                <a:gd name="T24" fmla="*/ 27 w 76"/>
                <a:gd name="T25" fmla="*/ 56 h 76"/>
                <a:gd name="T26" fmla="*/ 25 w 76"/>
                <a:gd name="T27" fmla="*/ 56 h 76"/>
                <a:gd name="T28" fmla="*/ 24 w 76"/>
                <a:gd name="T29" fmla="*/ 53 h 76"/>
                <a:gd name="T30" fmla="*/ 28 w 76"/>
                <a:gd name="T31" fmla="*/ 41 h 76"/>
                <a:gd name="T32" fmla="*/ 19 w 76"/>
                <a:gd name="T33" fmla="*/ 34 h 76"/>
                <a:gd name="T34" fmla="*/ 18 w 76"/>
                <a:gd name="T35" fmla="*/ 31 h 76"/>
                <a:gd name="T36" fmla="*/ 20 w 76"/>
                <a:gd name="T37" fmla="*/ 30 h 76"/>
                <a:gd name="T38" fmla="*/ 31 w 76"/>
                <a:gd name="T39" fmla="*/ 30 h 76"/>
                <a:gd name="T40" fmla="*/ 36 w 76"/>
                <a:gd name="T41" fmla="*/ 19 h 76"/>
                <a:gd name="T42" fmla="*/ 40 w 76"/>
                <a:gd name="T43" fmla="*/ 19 h 76"/>
                <a:gd name="T44" fmla="*/ 45 w 76"/>
                <a:gd name="T45" fmla="*/ 30 h 76"/>
                <a:gd name="T46" fmla="*/ 56 w 76"/>
                <a:gd name="T47" fmla="*/ 30 h 76"/>
                <a:gd name="T48" fmla="*/ 58 w 76"/>
                <a:gd name="T49" fmla="*/ 31 h 76"/>
                <a:gd name="T50" fmla="*/ 57 w 76"/>
                <a:gd name="T51" fmla="*/ 34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76" h="76">
                  <a:moveTo>
                    <a:pt x="76" y="38"/>
                  </a:moveTo>
                  <a:cubicBezTo>
                    <a:pt x="76" y="17"/>
                    <a:pt x="59" y="0"/>
                    <a:pt x="38" y="0"/>
                  </a:cubicBezTo>
                  <a:cubicBezTo>
                    <a:pt x="17" y="0"/>
                    <a:pt x="0" y="17"/>
                    <a:pt x="0" y="38"/>
                  </a:cubicBezTo>
                  <a:cubicBezTo>
                    <a:pt x="0" y="59"/>
                    <a:pt x="17" y="76"/>
                    <a:pt x="38" y="76"/>
                  </a:cubicBezTo>
                  <a:cubicBezTo>
                    <a:pt x="59" y="76"/>
                    <a:pt x="76" y="59"/>
                    <a:pt x="76" y="38"/>
                  </a:cubicBezTo>
                  <a:close/>
                  <a:moveTo>
                    <a:pt x="57" y="34"/>
                  </a:moveTo>
                  <a:cubicBezTo>
                    <a:pt x="48" y="41"/>
                    <a:pt x="48" y="41"/>
                    <a:pt x="48" y="41"/>
                  </a:cubicBezTo>
                  <a:cubicBezTo>
                    <a:pt x="52" y="53"/>
                    <a:pt x="52" y="53"/>
                    <a:pt x="52" y="53"/>
                  </a:cubicBezTo>
                  <a:cubicBezTo>
                    <a:pt x="52" y="54"/>
                    <a:pt x="52" y="55"/>
                    <a:pt x="51" y="56"/>
                  </a:cubicBezTo>
                  <a:cubicBezTo>
                    <a:pt x="51" y="56"/>
                    <a:pt x="50" y="56"/>
                    <a:pt x="50" y="56"/>
                  </a:cubicBezTo>
                  <a:cubicBezTo>
                    <a:pt x="50" y="56"/>
                    <a:pt x="49" y="56"/>
                    <a:pt x="49" y="56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27" y="56"/>
                    <a:pt x="27" y="56"/>
                    <a:pt x="27" y="56"/>
                  </a:cubicBezTo>
                  <a:cubicBezTo>
                    <a:pt x="26" y="56"/>
                    <a:pt x="25" y="56"/>
                    <a:pt x="25" y="56"/>
                  </a:cubicBezTo>
                  <a:cubicBezTo>
                    <a:pt x="24" y="55"/>
                    <a:pt x="24" y="54"/>
                    <a:pt x="24" y="53"/>
                  </a:cubicBezTo>
                  <a:cubicBezTo>
                    <a:pt x="28" y="41"/>
                    <a:pt x="28" y="41"/>
                    <a:pt x="28" y="41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8" y="33"/>
                    <a:pt x="18" y="32"/>
                    <a:pt x="18" y="31"/>
                  </a:cubicBezTo>
                  <a:cubicBezTo>
                    <a:pt x="18" y="31"/>
                    <a:pt x="19" y="30"/>
                    <a:pt x="20" y="30"/>
                  </a:cubicBezTo>
                  <a:cubicBezTo>
                    <a:pt x="31" y="30"/>
                    <a:pt x="31" y="30"/>
                    <a:pt x="31" y="30"/>
                  </a:cubicBezTo>
                  <a:cubicBezTo>
                    <a:pt x="36" y="19"/>
                    <a:pt x="36" y="19"/>
                    <a:pt x="36" y="19"/>
                  </a:cubicBezTo>
                  <a:cubicBezTo>
                    <a:pt x="37" y="18"/>
                    <a:pt x="39" y="18"/>
                    <a:pt x="40" y="19"/>
                  </a:cubicBezTo>
                  <a:cubicBezTo>
                    <a:pt x="45" y="30"/>
                    <a:pt x="45" y="30"/>
                    <a:pt x="45" y="30"/>
                  </a:cubicBezTo>
                  <a:cubicBezTo>
                    <a:pt x="56" y="30"/>
                    <a:pt x="56" y="30"/>
                    <a:pt x="56" y="30"/>
                  </a:cubicBezTo>
                  <a:cubicBezTo>
                    <a:pt x="57" y="30"/>
                    <a:pt x="58" y="31"/>
                    <a:pt x="58" y="31"/>
                  </a:cubicBezTo>
                  <a:cubicBezTo>
                    <a:pt x="58" y="32"/>
                    <a:pt x="58" y="33"/>
                    <a:pt x="57" y="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62" name="Group 161">
            <a:extLst>
              <a:ext uri="{FF2B5EF4-FFF2-40B4-BE49-F238E27FC236}">
                <a16:creationId xmlns:a16="http://schemas.microsoft.com/office/drawing/2014/main" xmlns="" id="{45AD351E-EBA7-4FBE-B32C-7492E0018423}"/>
              </a:ext>
            </a:extLst>
          </p:cNvPr>
          <p:cNvGrpSpPr/>
          <p:nvPr/>
        </p:nvGrpSpPr>
        <p:grpSpPr>
          <a:xfrm>
            <a:off x="8935778" y="1420247"/>
            <a:ext cx="300182" cy="327603"/>
            <a:chOff x="2670175" y="6494463"/>
            <a:chExt cx="330200" cy="360363"/>
          </a:xfrm>
          <a:solidFill>
            <a:schemeClr val="bg1"/>
          </a:solidFill>
        </p:grpSpPr>
        <p:sp>
          <p:nvSpPr>
            <p:cNvPr id="163" name="Freeform 94">
              <a:extLst>
                <a:ext uri="{FF2B5EF4-FFF2-40B4-BE49-F238E27FC236}">
                  <a16:creationId xmlns:a16="http://schemas.microsoft.com/office/drawing/2014/main" xmlns="" id="{8FDC14C7-CAC9-47B2-9ECF-CF503FAE8B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14625" y="6508750"/>
              <a:ext cx="285750" cy="241300"/>
            </a:xfrm>
            <a:custGeom>
              <a:avLst/>
              <a:gdLst>
                <a:gd name="T0" fmla="*/ 75 w 76"/>
                <a:gd name="T1" fmla="*/ 60 h 64"/>
                <a:gd name="T2" fmla="*/ 47 w 76"/>
                <a:gd name="T3" fmla="*/ 38 h 64"/>
                <a:gd name="T4" fmla="*/ 75 w 76"/>
                <a:gd name="T5" fmla="*/ 16 h 64"/>
                <a:gd name="T6" fmla="*/ 76 w 76"/>
                <a:gd name="T7" fmla="*/ 13 h 64"/>
                <a:gd name="T8" fmla="*/ 74 w 76"/>
                <a:gd name="T9" fmla="*/ 12 h 64"/>
                <a:gd name="T10" fmla="*/ 32 w 76"/>
                <a:gd name="T11" fmla="*/ 12 h 64"/>
                <a:gd name="T12" fmla="*/ 32 w 76"/>
                <a:gd name="T13" fmla="*/ 2 h 64"/>
                <a:gd name="T14" fmla="*/ 30 w 76"/>
                <a:gd name="T15" fmla="*/ 0 h 64"/>
                <a:gd name="T16" fmla="*/ 2 w 76"/>
                <a:gd name="T17" fmla="*/ 0 h 64"/>
                <a:gd name="T18" fmla="*/ 0 w 76"/>
                <a:gd name="T19" fmla="*/ 2 h 64"/>
                <a:gd name="T20" fmla="*/ 0 w 76"/>
                <a:gd name="T21" fmla="*/ 50 h 64"/>
                <a:gd name="T22" fmla="*/ 2 w 76"/>
                <a:gd name="T23" fmla="*/ 52 h 64"/>
                <a:gd name="T24" fmla="*/ 14 w 76"/>
                <a:gd name="T25" fmla="*/ 52 h 64"/>
                <a:gd name="T26" fmla="*/ 14 w 76"/>
                <a:gd name="T27" fmla="*/ 62 h 64"/>
                <a:gd name="T28" fmla="*/ 16 w 76"/>
                <a:gd name="T29" fmla="*/ 64 h 64"/>
                <a:gd name="T30" fmla="*/ 74 w 76"/>
                <a:gd name="T31" fmla="*/ 64 h 64"/>
                <a:gd name="T32" fmla="*/ 74 w 76"/>
                <a:gd name="T33" fmla="*/ 64 h 64"/>
                <a:gd name="T34" fmla="*/ 76 w 76"/>
                <a:gd name="T35" fmla="*/ 62 h 64"/>
                <a:gd name="T36" fmla="*/ 75 w 76"/>
                <a:gd name="T37" fmla="*/ 60 h 64"/>
                <a:gd name="T38" fmla="*/ 18 w 76"/>
                <a:gd name="T39" fmla="*/ 57 h 64"/>
                <a:gd name="T40" fmla="*/ 18 w 76"/>
                <a:gd name="T41" fmla="*/ 52 h 64"/>
                <a:gd name="T42" fmla="*/ 29 w 76"/>
                <a:gd name="T43" fmla="*/ 52 h 64"/>
                <a:gd name="T44" fmla="*/ 18 w 76"/>
                <a:gd name="T45" fmla="*/ 57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6" h="64">
                  <a:moveTo>
                    <a:pt x="75" y="60"/>
                  </a:moveTo>
                  <a:cubicBezTo>
                    <a:pt x="47" y="38"/>
                    <a:pt x="47" y="38"/>
                    <a:pt x="47" y="38"/>
                  </a:cubicBezTo>
                  <a:cubicBezTo>
                    <a:pt x="75" y="16"/>
                    <a:pt x="75" y="16"/>
                    <a:pt x="75" y="16"/>
                  </a:cubicBezTo>
                  <a:cubicBezTo>
                    <a:pt x="76" y="15"/>
                    <a:pt x="76" y="14"/>
                    <a:pt x="76" y="13"/>
                  </a:cubicBezTo>
                  <a:cubicBezTo>
                    <a:pt x="76" y="13"/>
                    <a:pt x="75" y="12"/>
                    <a:pt x="74" y="12"/>
                  </a:cubicBezTo>
                  <a:cubicBezTo>
                    <a:pt x="32" y="12"/>
                    <a:pt x="32" y="12"/>
                    <a:pt x="32" y="1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1"/>
                    <a:pt x="31" y="0"/>
                    <a:pt x="3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51"/>
                    <a:pt x="1" y="52"/>
                    <a:pt x="2" y="52"/>
                  </a:cubicBezTo>
                  <a:cubicBezTo>
                    <a:pt x="14" y="52"/>
                    <a:pt x="14" y="52"/>
                    <a:pt x="14" y="52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4" y="63"/>
                    <a:pt x="15" y="64"/>
                    <a:pt x="16" y="64"/>
                  </a:cubicBezTo>
                  <a:cubicBezTo>
                    <a:pt x="74" y="64"/>
                    <a:pt x="74" y="64"/>
                    <a:pt x="74" y="64"/>
                  </a:cubicBezTo>
                  <a:cubicBezTo>
                    <a:pt x="74" y="64"/>
                    <a:pt x="74" y="64"/>
                    <a:pt x="74" y="64"/>
                  </a:cubicBezTo>
                  <a:cubicBezTo>
                    <a:pt x="75" y="64"/>
                    <a:pt x="76" y="63"/>
                    <a:pt x="76" y="62"/>
                  </a:cubicBezTo>
                  <a:cubicBezTo>
                    <a:pt x="76" y="61"/>
                    <a:pt x="76" y="61"/>
                    <a:pt x="75" y="60"/>
                  </a:cubicBezTo>
                  <a:close/>
                  <a:moveTo>
                    <a:pt x="18" y="57"/>
                  </a:moveTo>
                  <a:cubicBezTo>
                    <a:pt x="18" y="52"/>
                    <a:pt x="18" y="52"/>
                    <a:pt x="18" y="52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24" y="54"/>
                    <a:pt x="20" y="56"/>
                    <a:pt x="18" y="5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64" name="Freeform 95">
              <a:extLst>
                <a:ext uri="{FF2B5EF4-FFF2-40B4-BE49-F238E27FC236}">
                  <a16:creationId xmlns:a16="http://schemas.microsoft.com/office/drawing/2014/main" xmlns="" id="{EF841FF3-54FD-4945-AE01-EA9A53538CBE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0175" y="6494463"/>
              <a:ext cx="30163" cy="360363"/>
            </a:xfrm>
            <a:custGeom>
              <a:avLst/>
              <a:gdLst>
                <a:gd name="T0" fmla="*/ 4 w 8"/>
                <a:gd name="T1" fmla="*/ 0 h 96"/>
                <a:gd name="T2" fmla="*/ 0 w 8"/>
                <a:gd name="T3" fmla="*/ 4 h 96"/>
                <a:gd name="T4" fmla="*/ 0 w 8"/>
                <a:gd name="T5" fmla="*/ 92 h 96"/>
                <a:gd name="T6" fmla="*/ 4 w 8"/>
                <a:gd name="T7" fmla="*/ 96 h 96"/>
                <a:gd name="T8" fmla="*/ 8 w 8"/>
                <a:gd name="T9" fmla="*/ 92 h 96"/>
                <a:gd name="T10" fmla="*/ 8 w 8"/>
                <a:gd name="T11" fmla="*/ 4 h 96"/>
                <a:gd name="T12" fmla="*/ 4 w 8"/>
                <a:gd name="T13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96">
                  <a:moveTo>
                    <a:pt x="4" y="0"/>
                  </a:moveTo>
                  <a:cubicBezTo>
                    <a:pt x="2" y="0"/>
                    <a:pt x="0" y="2"/>
                    <a:pt x="0" y="4"/>
                  </a:cubicBezTo>
                  <a:cubicBezTo>
                    <a:pt x="0" y="92"/>
                    <a:pt x="0" y="92"/>
                    <a:pt x="0" y="92"/>
                  </a:cubicBezTo>
                  <a:cubicBezTo>
                    <a:pt x="0" y="94"/>
                    <a:pt x="2" y="96"/>
                    <a:pt x="4" y="96"/>
                  </a:cubicBezTo>
                  <a:cubicBezTo>
                    <a:pt x="6" y="96"/>
                    <a:pt x="8" y="94"/>
                    <a:pt x="8" y="92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2"/>
                    <a:pt x="6" y="0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</p:spTree>
    <p:extLst>
      <p:ext uri="{BB962C8B-B14F-4D97-AF65-F5344CB8AC3E}">
        <p14:creationId xmlns:p14="http://schemas.microsoft.com/office/powerpoint/2010/main" val="237481617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Object 33" hidden="1">
            <a:extLst>
              <a:ext uri="{FF2B5EF4-FFF2-40B4-BE49-F238E27FC236}">
                <a16:creationId xmlns:a16="http://schemas.microsoft.com/office/drawing/2014/main" xmlns="" id="{8F62AF0D-9D08-4489-BFE1-F541D5E608B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Slide" r:id="rId5" imgW="381" imgH="381" progId="TCLayout.ActiveDocument.1">
                  <p:embed/>
                </p:oleObj>
              </mc:Choice>
              <mc:Fallback>
                <p:oleObj name="think-cell Slide" r:id="rId5" imgW="381" imgH="38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4" name="Freeform: Shape 73">
            <a:extLst>
              <a:ext uri="{FF2B5EF4-FFF2-40B4-BE49-F238E27FC236}">
                <a16:creationId xmlns:a16="http://schemas.microsoft.com/office/drawing/2014/main" xmlns="" id="{CF497355-2B54-45D6-AACD-7377FF35F09D}"/>
              </a:ext>
            </a:extLst>
          </p:cNvPr>
          <p:cNvSpPr/>
          <p:nvPr/>
        </p:nvSpPr>
        <p:spPr>
          <a:xfrm rot="10800000">
            <a:off x="4895538" y="0"/>
            <a:ext cx="7296462" cy="6860810"/>
          </a:xfrm>
          <a:custGeom>
            <a:avLst/>
            <a:gdLst>
              <a:gd name="connsiteX0" fmla="*/ 7296463 w 7296462"/>
              <a:gd name="connsiteY0" fmla="*/ 6860811 h 6860810"/>
              <a:gd name="connsiteX1" fmla="*/ 6267763 w 7296462"/>
              <a:gd name="connsiteY1" fmla="*/ 5536992 h 6860810"/>
              <a:gd name="connsiteX2" fmla="*/ 5095719 w 7296462"/>
              <a:gd name="connsiteY2" fmla="*/ 3825303 h 6860810"/>
              <a:gd name="connsiteX3" fmla="*/ 2852816 w 7296462"/>
              <a:gd name="connsiteY3" fmla="*/ 1843790 h 6860810"/>
              <a:gd name="connsiteX4" fmla="*/ 677368 w 7296462"/>
              <a:gd name="connsiteY4" fmla="*/ 0 h 6860810"/>
              <a:gd name="connsiteX5" fmla="*/ 0 w 7296462"/>
              <a:gd name="connsiteY5" fmla="*/ 0 h 6860810"/>
              <a:gd name="connsiteX6" fmla="*/ 0 w 7296462"/>
              <a:gd name="connsiteY6" fmla="*/ 6860811 h 6860810"/>
              <a:gd name="connsiteX7" fmla="*/ 7296463 w 7296462"/>
              <a:gd name="connsiteY7" fmla="*/ 6860811 h 6860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296462" h="6860810">
                <a:moveTo>
                  <a:pt x="7296463" y="6860811"/>
                </a:moveTo>
                <a:cubicBezTo>
                  <a:pt x="7296463" y="6860811"/>
                  <a:pt x="6276195" y="6531964"/>
                  <a:pt x="6267763" y="5536992"/>
                </a:cubicBezTo>
                <a:cubicBezTo>
                  <a:pt x="6259330" y="4623529"/>
                  <a:pt x="5930484" y="4137285"/>
                  <a:pt x="5095719" y="3825303"/>
                </a:cubicBezTo>
                <a:cubicBezTo>
                  <a:pt x="4100747" y="3454296"/>
                  <a:pt x="3114207" y="3108585"/>
                  <a:pt x="2852816" y="1843790"/>
                </a:cubicBezTo>
                <a:cubicBezTo>
                  <a:pt x="2605478" y="646451"/>
                  <a:pt x="1995566" y="115237"/>
                  <a:pt x="677368" y="0"/>
                </a:cubicBezTo>
                <a:lnTo>
                  <a:pt x="0" y="0"/>
                </a:lnTo>
                <a:lnTo>
                  <a:pt x="0" y="6860811"/>
                </a:lnTo>
                <a:lnTo>
                  <a:pt x="7296463" y="6860811"/>
                </a:lnTo>
                <a:close/>
              </a:path>
            </a:pathLst>
          </a:custGeom>
          <a:solidFill>
            <a:srgbClr val="D3E3FF">
              <a:alpha val="30000"/>
            </a:srgbClr>
          </a:solidFill>
          <a:ln w="28107" cap="flat">
            <a:noFill/>
            <a:prstDash val="solid"/>
            <a:miter/>
          </a:ln>
        </p:spPr>
        <p:txBody>
          <a:bodyPr rtlCol="0" anchor="ctr"/>
          <a:lstStyle/>
          <a:p>
            <a:endParaRPr lang="en-ID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xmlns="" id="{2E22AEFB-1B0B-4AA8-A2FF-9D343A40DF1E}"/>
              </a:ext>
            </a:extLst>
          </p:cNvPr>
          <p:cNvSpPr/>
          <p:nvPr/>
        </p:nvSpPr>
        <p:spPr>
          <a:xfrm>
            <a:off x="2810" y="2785359"/>
            <a:ext cx="4151338" cy="4075451"/>
          </a:xfrm>
          <a:custGeom>
            <a:avLst/>
            <a:gdLst>
              <a:gd name="connsiteX0" fmla="*/ 4151339 w 4151338"/>
              <a:gd name="connsiteY0" fmla="*/ 4075451 h 4075451"/>
              <a:gd name="connsiteX1" fmla="*/ 3530184 w 4151338"/>
              <a:gd name="connsiteY1" fmla="*/ 3296899 h 4075451"/>
              <a:gd name="connsiteX2" fmla="*/ 2686987 w 4151338"/>
              <a:gd name="connsiteY2" fmla="*/ 2127667 h 4075451"/>
              <a:gd name="connsiteX3" fmla="*/ 1304144 w 4151338"/>
              <a:gd name="connsiteY3" fmla="*/ 1082103 h 4075451"/>
              <a:gd name="connsiteX4" fmla="*/ 0 w 4151338"/>
              <a:gd name="connsiteY4" fmla="*/ 0 h 4075451"/>
              <a:gd name="connsiteX5" fmla="*/ 0 w 4151338"/>
              <a:gd name="connsiteY5" fmla="*/ 4075451 h 4075451"/>
              <a:gd name="connsiteX6" fmla="*/ 4151339 w 4151338"/>
              <a:gd name="connsiteY6" fmla="*/ 4075451 h 40754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51338" h="4075451">
                <a:moveTo>
                  <a:pt x="4151339" y="4075451"/>
                </a:moveTo>
                <a:cubicBezTo>
                  <a:pt x="4151339" y="4075451"/>
                  <a:pt x="3656663" y="3965835"/>
                  <a:pt x="3530184" y="3296899"/>
                </a:cubicBezTo>
                <a:cubicBezTo>
                  <a:pt x="3403704" y="2627963"/>
                  <a:pt x="3358734" y="2434028"/>
                  <a:pt x="2686987" y="2127667"/>
                </a:cubicBezTo>
                <a:cubicBezTo>
                  <a:pt x="2012429" y="1821305"/>
                  <a:pt x="1554293" y="1863465"/>
                  <a:pt x="1304144" y="1082103"/>
                </a:cubicBezTo>
                <a:cubicBezTo>
                  <a:pt x="1053996" y="303551"/>
                  <a:pt x="685800" y="129290"/>
                  <a:pt x="0" y="0"/>
                </a:cubicBezTo>
                <a:lnTo>
                  <a:pt x="0" y="4075451"/>
                </a:lnTo>
                <a:lnTo>
                  <a:pt x="4151339" y="4075451"/>
                </a:lnTo>
                <a:close/>
              </a:path>
            </a:pathLst>
          </a:custGeom>
          <a:solidFill>
            <a:srgbClr val="D3E3FF">
              <a:alpha val="30000"/>
            </a:srgbClr>
          </a:solidFill>
          <a:ln w="28107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ID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xmlns="" id="{807C16C9-3CC6-468B-9BD0-BEC1011A6B20}"/>
              </a:ext>
            </a:extLst>
          </p:cNvPr>
          <p:cNvSpPr/>
          <p:nvPr/>
        </p:nvSpPr>
        <p:spPr>
          <a:xfrm>
            <a:off x="0" y="5002967"/>
            <a:ext cx="1604884" cy="1857843"/>
          </a:xfrm>
          <a:custGeom>
            <a:avLst/>
            <a:gdLst>
              <a:gd name="connsiteX0" fmla="*/ 1604884 w 1604884"/>
              <a:gd name="connsiteY0" fmla="*/ 1857844 h 1857843"/>
              <a:gd name="connsiteX1" fmla="*/ 789794 w 1604884"/>
              <a:gd name="connsiteY1" fmla="*/ 1037132 h 1857843"/>
              <a:gd name="connsiteX2" fmla="*/ 0 w 1604884"/>
              <a:gd name="connsiteY2" fmla="*/ 0 h 1857843"/>
              <a:gd name="connsiteX3" fmla="*/ 0 w 1604884"/>
              <a:gd name="connsiteY3" fmla="*/ 1857844 h 1857843"/>
              <a:gd name="connsiteX4" fmla="*/ 1604884 w 1604884"/>
              <a:gd name="connsiteY4" fmla="*/ 1857844 h 18578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04884" h="1857843">
                <a:moveTo>
                  <a:pt x="1604884" y="1857844"/>
                </a:moveTo>
                <a:cubicBezTo>
                  <a:pt x="1604884" y="1857844"/>
                  <a:pt x="1604884" y="1453109"/>
                  <a:pt x="789794" y="1037132"/>
                </a:cubicBezTo>
                <a:cubicBezTo>
                  <a:pt x="300740" y="789794"/>
                  <a:pt x="0" y="0"/>
                  <a:pt x="0" y="0"/>
                </a:cubicBezTo>
                <a:lnTo>
                  <a:pt x="0" y="1857844"/>
                </a:lnTo>
                <a:lnTo>
                  <a:pt x="1604884" y="1857844"/>
                </a:lnTo>
                <a:close/>
              </a:path>
            </a:pathLst>
          </a:custGeom>
          <a:solidFill>
            <a:srgbClr val="D3E3FF"/>
          </a:solidFill>
          <a:ln w="28107" cap="flat">
            <a:noFill/>
            <a:prstDash val="solid"/>
            <a:miter/>
          </a:ln>
        </p:spPr>
        <p:txBody>
          <a:bodyPr rtlCol="0" anchor="ctr"/>
          <a:lstStyle/>
          <a:p>
            <a:endParaRPr lang="en-ID"/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xmlns="" id="{2075C8C0-3381-4B26-B87F-02F64950E9B6}"/>
              </a:ext>
            </a:extLst>
          </p:cNvPr>
          <p:cNvGrpSpPr/>
          <p:nvPr/>
        </p:nvGrpSpPr>
        <p:grpSpPr>
          <a:xfrm>
            <a:off x="6975910" y="1"/>
            <a:ext cx="5216089" cy="4406884"/>
            <a:chOff x="6675120" y="0"/>
            <a:chExt cx="5516880" cy="4661011"/>
          </a:xfrm>
          <a:solidFill>
            <a:schemeClr val="accent4">
              <a:lumMod val="60000"/>
              <a:lumOff val="40000"/>
            </a:schemeClr>
          </a:solidFill>
        </p:grpSpPr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xmlns="" id="{2B36B1DD-68DA-4710-8811-A5458242C6D2}"/>
                </a:ext>
              </a:extLst>
            </p:cNvPr>
            <p:cNvSpPr/>
            <p:nvPr/>
          </p:nvSpPr>
          <p:spPr>
            <a:xfrm>
              <a:off x="6675120" y="0"/>
              <a:ext cx="5516880" cy="4661011"/>
            </a:xfrm>
            <a:custGeom>
              <a:avLst/>
              <a:gdLst>
                <a:gd name="connsiteX0" fmla="*/ 6444834 w 6444834"/>
                <a:gd name="connsiteY0" fmla="*/ 5435808 h 5445005"/>
                <a:gd name="connsiteX1" fmla="*/ 4567316 w 6444834"/>
                <a:gd name="connsiteY1" fmla="*/ 3853409 h 5445005"/>
                <a:gd name="connsiteX2" fmla="*/ 2627963 w 6444834"/>
                <a:gd name="connsiteY2" fmla="*/ 1582399 h 5445005"/>
                <a:gd name="connsiteX3" fmla="*/ 0 w 6444834"/>
                <a:gd name="connsiteY3" fmla="*/ 0 h 5445005"/>
                <a:gd name="connsiteX4" fmla="*/ 6444834 w 6444834"/>
                <a:gd name="connsiteY4" fmla="*/ 0 h 5445005"/>
                <a:gd name="connsiteX5" fmla="*/ 6444834 w 6444834"/>
                <a:gd name="connsiteY5" fmla="*/ 5435808 h 54450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444834" h="5445005">
                  <a:moveTo>
                    <a:pt x="6444834" y="5435808"/>
                  </a:moveTo>
                  <a:cubicBezTo>
                    <a:pt x="6444834" y="5435808"/>
                    <a:pt x="5281222" y="5663472"/>
                    <a:pt x="4567316" y="3853409"/>
                  </a:cubicBezTo>
                  <a:cubicBezTo>
                    <a:pt x="3853409" y="2043347"/>
                    <a:pt x="3724119" y="1992755"/>
                    <a:pt x="2627963" y="1582399"/>
                  </a:cubicBezTo>
                  <a:cubicBezTo>
                    <a:pt x="1531807" y="1172044"/>
                    <a:pt x="663315" y="1146748"/>
                    <a:pt x="0" y="0"/>
                  </a:cubicBezTo>
                  <a:lnTo>
                    <a:pt x="6444834" y="0"/>
                  </a:lnTo>
                  <a:lnTo>
                    <a:pt x="6444834" y="5435808"/>
                  </a:lnTo>
                  <a:close/>
                </a:path>
              </a:pathLst>
            </a:custGeom>
            <a:grpFill/>
            <a:ln w="281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xmlns="" id="{54A884C1-DBF4-4210-B62C-CB2421C6838E}"/>
                </a:ext>
              </a:extLst>
            </p:cNvPr>
            <p:cNvSpPr/>
            <p:nvPr/>
          </p:nvSpPr>
          <p:spPr>
            <a:xfrm>
              <a:off x="10254453" y="0"/>
              <a:ext cx="1937547" cy="1673133"/>
            </a:xfrm>
            <a:custGeom>
              <a:avLst/>
              <a:gdLst>
                <a:gd name="connsiteX0" fmla="*/ 2450892 w 2450892"/>
                <a:gd name="connsiteY0" fmla="*/ 2116424 h 2116423"/>
                <a:gd name="connsiteX1" fmla="*/ 1368790 w 2450892"/>
                <a:gd name="connsiteY1" fmla="*/ 1039943 h 2116423"/>
                <a:gd name="connsiteX2" fmla="*/ 0 w 2450892"/>
                <a:gd name="connsiteY2" fmla="*/ 0 h 2116423"/>
                <a:gd name="connsiteX3" fmla="*/ 2450892 w 2450892"/>
                <a:gd name="connsiteY3" fmla="*/ 0 h 2116423"/>
                <a:gd name="connsiteX4" fmla="*/ 2450892 w 2450892"/>
                <a:gd name="connsiteY4" fmla="*/ 2116424 h 2116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50892" h="2116423">
                  <a:moveTo>
                    <a:pt x="2450892" y="2116424"/>
                  </a:moveTo>
                  <a:cubicBezTo>
                    <a:pt x="2450892" y="2116424"/>
                    <a:pt x="1914057" y="2116424"/>
                    <a:pt x="1368790" y="1039943"/>
                  </a:cubicBezTo>
                  <a:cubicBezTo>
                    <a:pt x="1039943" y="396302"/>
                    <a:pt x="0" y="0"/>
                    <a:pt x="0" y="0"/>
                  </a:cubicBezTo>
                  <a:lnTo>
                    <a:pt x="2450892" y="0"/>
                  </a:lnTo>
                  <a:lnTo>
                    <a:pt x="2450892" y="2116424"/>
                  </a:lnTo>
                  <a:close/>
                </a:path>
              </a:pathLst>
            </a:custGeom>
            <a:grpFill/>
            <a:ln w="281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D"/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xmlns="" id="{EB048BA3-9E62-4EFC-8C97-524930D692A4}"/>
              </a:ext>
            </a:extLst>
          </p:cNvPr>
          <p:cNvGrpSpPr/>
          <p:nvPr/>
        </p:nvGrpSpPr>
        <p:grpSpPr>
          <a:xfrm>
            <a:off x="828399" y="1827550"/>
            <a:ext cx="4895744" cy="646331"/>
            <a:chOff x="828399" y="3374466"/>
            <a:chExt cx="4895744" cy="646331"/>
          </a:xfrm>
        </p:grpSpPr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xmlns="" id="{C7EE9020-C1EE-4802-9398-5B606F92465F}"/>
                </a:ext>
              </a:extLst>
            </p:cNvPr>
            <p:cNvSpPr txBox="1"/>
            <p:nvPr/>
          </p:nvSpPr>
          <p:spPr>
            <a:xfrm>
              <a:off x="828399" y="3389856"/>
              <a:ext cx="682879" cy="615553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i="0" u="none" strike="noStrike" kern="1200" cap="none" spc="0" normalizeH="0" baseline="0" noProof="0" dirty="0">
                  <a:ln>
                    <a:noFill/>
                  </a:ln>
                  <a:solidFill>
                    <a:srgbClr val="4399FF"/>
                  </a:solidFill>
                  <a:effectLst/>
                  <a:uLnTx/>
                  <a:uFillTx/>
                  <a:latin typeface="Arial Black" panose="020B0A04020102020204" pitchFamily="34" charset="0"/>
                  <a:ea typeface="+mn-ea"/>
                  <a:cs typeface="+mn-cs"/>
                </a:rPr>
                <a:t>01</a:t>
              </a:r>
            </a:p>
          </p:txBody>
        </p:sp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xmlns="" id="{69695B5D-FC4B-4E6F-A193-1DCA3EAAC812}"/>
                </a:ext>
              </a:extLst>
            </p:cNvPr>
            <p:cNvSpPr txBox="1"/>
            <p:nvPr/>
          </p:nvSpPr>
          <p:spPr>
            <a:xfrm>
              <a:off x="1783080" y="3374466"/>
              <a:ext cx="3941063" cy="646331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Lorem ipsum dolor sit </a:t>
              </a:r>
              <a:r>
                <a:rPr kumimoji="0" lang="en-US" sz="1400" i="0" u="none" strike="noStrike" kern="1200" cap="none" spc="0" normalizeH="0" baseline="0" noProof="0" dirty="0" err="1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amet</a:t>
              </a:r>
              <a:r>
                <a:rPr kumimoji="0" lang="en-US" sz="140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, </a:t>
              </a:r>
              <a:r>
                <a:rPr kumimoji="0" lang="en-US" sz="1400" i="0" u="none" strike="noStrike" kern="1200" cap="none" spc="0" normalizeH="0" baseline="0" noProof="0" dirty="0" err="1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consectetur</a:t>
              </a:r>
              <a:r>
                <a:rPr kumimoji="0" lang="en-US" sz="140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 </a:t>
              </a:r>
              <a:r>
                <a:rPr kumimoji="0" lang="en-US" sz="1400" i="0" u="none" strike="noStrike" kern="1200" cap="none" spc="0" normalizeH="0" baseline="0" noProof="0" dirty="0" err="1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adipiscing</a:t>
              </a:r>
              <a:r>
                <a:rPr kumimoji="0" lang="en-US" sz="140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 </a:t>
              </a:r>
              <a:r>
                <a:rPr kumimoji="0" lang="en-US" sz="1400" i="0" u="none" strike="noStrike" kern="1200" cap="none" spc="0" normalizeH="0" baseline="0" noProof="0" dirty="0" err="1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elit</a:t>
              </a:r>
              <a:r>
                <a:rPr kumimoji="0" lang="en-US" sz="140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. Sed </a:t>
              </a:r>
              <a:r>
                <a:rPr kumimoji="0" lang="en-US" sz="1400" i="0" u="none" strike="noStrike" kern="1200" cap="none" spc="0" normalizeH="0" baseline="0" noProof="0" dirty="0" err="1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eget</a:t>
              </a:r>
              <a:r>
                <a:rPr kumimoji="0" lang="en-US" sz="140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 semper </a:t>
              </a:r>
              <a:r>
                <a:rPr kumimoji="0" lang="en-US" sz="1400" i="0" u="none" strike="noStrike" kern="1200" cap="none" spc="0" normalizeH="0" baseline="0" noProof="0" dirty="0" err="1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sapien</a:t>
              </a:r>
              <a:r>
                <a:rPr kumimoji="0" lang="en-US" sz="140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. Aenean </a:t>
              </a:r>
              <a:r>
                <a:rPr kumimoji="0" lang="en-US" sz="1400" i="0" u="none" strike="noStrike" kern="1200" cap="none" spc="0" normalizeH="0" baseline="0" noProof="0" dirty="0" err="1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volutpat</a:t>
              </a:r>
              <a:r>
                <a:rPr kumimoji="0" lang="en-US" sz="140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, </a:t>
              </a:r>
              <a:r>
                <a:rPr kumimoji="0" lang="en-US" sz="1400" i="0" u="none" strike="noStrike" kern="1200" cap="none" spc="0" normalizeH="0" baseline="0" noProof="0" dirty="0" err="1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enim</a:t>
              </a:r>
              <a:r>
                <a:rPr kumimoji="0" lang="en-US" sz="140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 </a:t>
              </a:r>
              <a:r>
                <a:rPr kumimoji="0" lang="en-US" sz="1400" i="0" u="none" strike="noStrike" kern="1200" cap="none" spc="0" normalizeH="0" baseline="0" noProof="0" dirty="0" err="1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feugiat</a:t>
              </a:r>
              <a:r>
                <a:rPr kumimoji="0" lang="en-US" sz="140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 </a:t>
              </a:r>
              <a:r>
                <a:rPr kumimoji="0" lang="en-US" sz="1400" i="0" u="none" strike="noStrike" kern="1200" cap="none" spc="0" normalizeH="0" baseline="0" noProof="0" dirty="0" err="1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bibendum</a:t>
              </a:r>
              <a:r>
                <a:rPr kumimoji="0" lang="en-US" sz="140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 </a:t>
              </a:r>
              <a:r>
                <a:rPr kumimoji="0" lang="en-US" sz="1400" i="0" u="none" strike="noStrike" kern="1200" cap="none" spc="0" normalizeH="0" baseline="0" noProof="0" dirty="0" err="1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varius</a:t>
              </a:r>
              <a:r>
                <a:rPr kumimoji="0" lang="en-US" sz="140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.</a:t>
              </a: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xmlns="" id="{5A8F2C79-A9D4-4A5A-A432-3DDA3FDA1258}"/>
              </a:ext>
            </a:extLst>
          </p:cNvPr>
          <p:cNvGrpSpPr/>
          <p:nvPr/>
        </p:nvGrpSpPr>
        <p:grpSpPr>
          <a:xfrm>
            <a:off x="828399" y="2817152"/>
            <a:ext cx="4895744" cy="646331"/>
            <a:chOff x="828399" y="4331541"/>
            <a:chExt cx="4895744" cy="646331"/>
          </a:xfrm>
        </p:grpSpPr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xmlns="" id="{8DB637AB-A838-4E37-8E03-0D7079166007}"/>
                </a:ext>
              </a:extLst>
            </p:cNvPr>
            <p:cNvSpPr txBox="1"/>
            <p:nvPr/>
          </p:nvSpPr>
          <p:spPr>
            <a:xfrm>
              <a:off x="828399" y="4346930"/>
              <a:ext cx="682879" cy="615553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i="0" u="none" strike="noStrike" kern="1200" cap="none" spc="0" normalizeH="0" baseline="0" noProof="0" dirty="0">
                  <a:ln>
                    <a:noFill/>
                  </a:ln>
                  <a:solidFill>
                    <a:srgbClr val="4399FF"/>
                  </a:solidFill>
                  <a:effectLst/>
                  <a:uLnTx/>
                  <a:uFillTx/>
                  <a:latin typeface="Arial Black" panose="020B0A04020102020204" pitchFamily="34" charset="0"/>
                  <a:ea typeface="+mn-ea"/>
                  <a:cs typeface="+mn-cs"/>
                </a:rPr>
                <a:t>02</a:t>
              </a:r>
            </a:p>
          </p:txBody>
        </p:sp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xmlns="" id="{59E2C349-5A46-4A2B-B96C-69B19986E87C}"/>
                </a:ext>
              </a:extLst>
            </p:cNvPr>
            <p:cNvSpPr txBox="1"/>
            <p:nvPr/>
          </p:nvSpPr>
          <p:spPr>
            <a:xfrm>
              <a:off x="1783080" y="4331541"/>
              <a:ext cx="3941063" cy="646331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Lorem ipsum dolor sit 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amet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, 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consectetur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adipiscing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elit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. Sed 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eget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semper 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sapien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. Aenean 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volutpat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, 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enim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feugiat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bibendum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varius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.</a:t>
              </a: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xmlns="" id="{23329F2B-6E43-4AEA-8BC6-9C64CC6BC6AC}"/>
              </a:ext>
            </a:extLst>
          </p:cNvPr>
          <p:cNvGrpSpPr/>
          <p:nvPr/>
        </p:nvGrpSpPr>
        <p:grpSpPr>
          <a:xfrm>
            <a:off x="828399" y="3806753"/>
            <a:ext cx="4895744" cy="646331"/>
            <a:chOff x="828399" y="5288615"/>
            <a:chExt cx="4895744" cy="646331"/>
          </a:xfrm>
        </p:grpSpPr>
        <p:sp>
          <p:nvSpPr>
            <p:cNvPr id="90" name="TextBox 89">
              <a:extLst>
                <a:ext uri="{FF2B5EF4-FFF2-40B4-BE49-F238E27FC236}">
                  <a16:creationId xmlns:a16="http://schemas.microsoft.com/office/drawing/2014/main" xmlns="" id="{37FCA858-9331-4424-9F1D-FFB1ABC951A0}"/>
                </a:ext>
              </a:extLst>
            </p:cNvPr>
            <p:cNvSpPr txBox="1"/>
            <p:nvPr/>
          </p:nvSpPr>
          <p:spPr>
            <a:xfrm>
              <a:off x="828399" y="5304004"/>
              <a:ext cx="682879" cy="615553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i="0" u="none" strike="noStrike" kern="1200" cap="none" spc="0" normalizeH="0" baseline="0" noProof="0" dirty="0">
                  <a:ln>
                    <a:noFill/>
                  </a:ln>
                  <a:solidFill>
                    <a:srgbClr val="4399FF"/>
                  </a:solidFill>
                  <a:effectLst/>
                  <a:uLnTx/>
                  <a:uFillTx/>
                  <a:latin typeface="Arial Black" panose="020B0A04020102020204" pitchFamily="34" charset="0"/>
                  <a:ea typeface="+mn-ea"/>
                  <a:cs typeface="+mn-cs"/>
                </a:rPr>
                <a:t>03</a:t>
              </a:r>
            </a:p>
          </p:txBody>
        </p:sp>
        <p:sp>
          <p:nvSpPr>
            <p:cNvPr id="98" name="TextBox 97">
              <a:extLst>
                <a:ext uri="{FF2B5EF4-FFF2-40B4-BE49-F238E27FC236}">
                  <a16:creationId xmlns:a16="http://schemas.microsoft.com/office/drawing/2014/main" xmlns="" id="{E8362CEA-E6AB-4605-A56F-3925B137A503}"/>
                </a:ext>
              </a:extLst>
            </p:cNvPr>
            <p:cNvSpPr txBox="1"/>
            <p:nvPr/>
          </p:nvSpPr>
          <p:spPr>
            <a:xfrm>
              <a:off x="1783080" y="5288615"/>
              <a:ext cx="3941063" cy="646331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Lorem ipsum dolor sit 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amet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, 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consectetur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adipiscing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elit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. Sed 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eget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semper 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sapien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. Aenean 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volutpat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, 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enim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feugiat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bibendum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varius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.</a:t>
              </a:r>
            </a:p>
          </p:txBody>
        </p: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xmlns="" id="{B3A44FB0-F1CC-4435-9E63-A30BE677FBEA}"/>
              </a:ext>
            </a:extLst>
          </p:cNvPr>
          <p:cNvGrpSpPr/>
          <p:nvPr/>
        </p:nvGrpSpPr>
        <p:grpSpPr>
          <a:xfrm>
            <a:off x="1783080" y="2645517"/>
            <a:ext cx="3941063" cy="989601"/>
            <a:chOff x="828398" y="4192433"/>
            <a:chExt cx="4895745" cy="989601"/>
          </a:xfrm>
        </p:grpSpPr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xmlns="" id="{869F12DC-21F3-42DB-83C8-59C2C79FE954}"/>
                </a:ext>
              </a:extLst>
            </p:cNvPr>
            <p:cNvCxnSpPr>
              <a:cxnSpLocks/>
            </p:cNvCxnSpPr>
            <p:nvPr/>
          </p:nvCxnSpPr>
          <p:spPr>
            <a:xfrm>
              <a:off x="828398" y="4192433"/>
              <a:ext cx="4895745" cy="0"/>
            </a:xfrm>
            <a:prstGeom prst="line">
              <a:avLst/>
            </a:prstGeom>
            <a:ln>
              <a:solidFill>
                <a:srgbClr val="2A355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xmlns="" id="{B6349A1B-2A7A-428C-8E47-E82EBAAA9241}"/>
                </a:ext>
              </a:extLst>
            </p:cNvPr>
            <p:cNvCxnSpPr>
              <a:cxnSpLocks/>
            </p:cNvCxnSpPr>
            <p:nvPr/>
          </p:nvCxnSpPr>
          <p:spPr>
            <a:xfrm>
              <a:off x="828398" y="5182034"/>
              <a:ext cx="4895745" cy="0"/>
            </a:xfrm>
            <a:prstGeom prst="line">
              <a:avLst/>
            </a:prstGeom>
            <a:ln>
              <a:solidFill>
                <a:srgbClr val="2A355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2" name="Graphic 101">
            <a:extLst>
              <a:ext uri="{FF2B5EF4-FFF2-40B4-BE49-F238E27FC236}">
                <a16:creationId xmlns:a16="http://schemas.microsoft.com/office/drawing/2014/main" xmlns="" id="{F0B5DEB5-E455-48C0-8770-6AEB5E064088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96DAC541-7B7A-43D3-8B79-37D633B846F1}">
                <asvg:svgBlip xmlns:asvg="http://schemas.microsoft.com/office/drawing/2016/SVG/main" xmlns="" r:embed="rId8"/>
              </a:ext>
            </a:extLst>
          </a:blip>
          <a:srcRect b="581"/>
          <a:stretch/>
        </p:blipFill>
        <p:spPr>
          <a:xfrm>
            <a:off x="6096000" y="3125945"/>
            <a:ext cx="5150672" cy="3732055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xmlns="" id="{189A1FD9-677F-43E0-AEE2-8DB9BAE49BB8}"/>
              </a:ext>
            </a:extLst>
          </p:cNvPr>
          <p:cNvSpPr txBox="1"/>
          <p:nvPr/>
        </p:nvSpPr>
        <p:spPr>
          <a:xfrm>
            <a:off x="828399" y="466991"/>
            <a:ext cx="6005539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000" dirty="0" smtClean="0">
                <a:latin typeface="Arial Black" panose="020B0A04020102020204" pitchFamily="34" charset="0"/>
              </a:rPr>
              <a:t>MISIUNEA NOASTR</a:t>
            </a:r>
            <a:r>
              <a:rPr lang="ro-RO" sz="4000" dirty="0" smtClean="0">
                <a:latin typeface="Arial Black" panose="020B0A04020102020204" pitchFamily="34" charset="0"/>
              </a:rPr>
              <a:t>Ă</a:t>
            </a:r>
            <a:endParaRPr kumimoji="0" lang="en-US" sz="40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7703950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0C737969-7DDD-4211-842B-C817A3696A9A}"/>
              </a:ext>
            </a:extLst>
          </p:cNvPr>
          <p:cNvSpPr txBox="1"/>
          <p:nvPr/>
        </p:nvSpPr>
        <p:spPr>
          <a:xfrm>
            <a:off x="828399" y="602147"/>
            <a:ext cx="4696101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600" dirty="0" smtClean="0">
                <a:latin typeface="Arial Black" panose="020B0A04020102020204" pitchFamily="34" charset="0"/>
              </a:rPr>
              <a:t>CE AM REALIZAT P</a:t>
            </a:r>
            <a:r>
              <a:rPr lang="ro-RO" sz="3600" dirty="0" smtClean="0">
                <a:latin typeface="Arial Black" panose="020B0A04020102020204" pitchFamily="34" charset="0"/>
              </a:rPr>
              <a:t>ÂNĂ</a:t>
            </a:r>
            <a:r>
              <a:rPr lang="en-US" sz="3600" dirty="0" smtClean="0">
                <a:latin typeface="Arial Black" panose="020B0A04020102020204" pitchFamily="34" charset="0"/>
              </a:rPr>
              <a:t> ACUM</a:t>
            </a:r>
            <a:endParaRPr kumimoji="0" lang="en-US" sz="36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 Black" panose="020B0A04020102020204" pitchFamily="34" charset="0"/>
            </a:endParaRPr>
          </a:p>
        </p:txBody>
      </p:sp>
      <p:sp>
        <p:nvSpPr>
          <p:cNvPr id="394" name="Freeform: Shape 393">
            <a:extLst>
              <a:ext uri="{FF2B5EF4-FFF2-40B4-BE49-F238E27FC236}">
                <a16:creationId xmlns:a16="http://schemas.microsoft.com/office/drawing/2014/main" xmlns="" id="{19A3555D-D35E-4A15-B87E-BB1583287C9B}"/>
              </a:ext>
            </a:extLst>
          </p:cNvPr>
          <p:cNvSpPr/>
          <p:nvPr/>
        </p:nvSpPr>
        <p:spPr>
          <a:xfrm rot="10800000">
            <a:off x="4895538" y="0"/>
            <a:ext cx="7296462" cy="6860810"/>
          </a:xfrm>
          <a:custGeom>
            <a:avLst/>
            <a:gdLst>
              <a:gd name="connsiteX0" fmla="*/ 7296463 w 7296462"/>
              <a:gd name="connsiteY0" fmla="*/ 6860811 h 6860810"/>
              <a:gd name="connsiteX1" fmla="*/ 6267763 w 7296462"/>
              <a:gd name="connsiteY1" fmla="*/ 5536992 h 6860810"/>
              <a:gd name="connsiteX2" fmla="*/ 5095719 w 7296462"/>
              <a:gd name="connsiteY2" fmla="*/ 3825303 h 6860810"/>
              <a:gd name="connsiteX3" fmla="*/ 2852816 w 7296462"/>
              <a:gd name="connsiteY3" fmla="*/ 1843790 h 6860810"/>
              <a:gd name="connsiteX4" fmla="*/ 677368 w 7296462"/>
              <a:gd name="connsiteY4" fmla="*/ 0 h 6860810"/>
              <a:gd name="connsiteX5" fmla="*/ 0 w 7296462"/>
              <a:gd name="connsiteY5" fmla="*/ 0 h 6860810"/>
              <a:gd name="connsiteX6" fmla="*/ 0 w 7296462"/>
              <a:gd name="connsiteY6" fmla="*/ 6860811 h 6860810"/>
              <a:gd name="connsiteX7" fmla="*/ 7296463 w 7296462"/>
              <a:gd name="connsiteY7" fmla="*/ 6860811 h 6860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296462" h="6860810">
                <a:moveTo>
                  <a:pt x="7296463" y="6860811"/>
                </a:moveTo>
                <a:cubicBezTo>
                  <a:pt x="7296463" y="6860811"/>
                  <a:pt x="6276195" y="6531964"/>
                  <a:pt x="6267763" y="5536992"/>
                </a:cubicBezTo>
                <a:cubicBezTo>
                  <a:pt x="6259330" y="4623529"/>
                  <a:pt x="5930484" y="4137285"/>
                  <a:pt x="5095719" y="3825303"/>
                </a:cubicBezTo>
                <a:cubicBezTo>
                  <a:pt x="4100747" y="3454296"/>
                  <a:pt x="3114207" y="3108585"/>
                  <a:pt x="2852816" y="1843790"/>
                </a:cubicBezTo>
                <a:cubicBezTo>
                  <a:pt x="2605478" y="646451"/>
                  <a:pt x="1995566" y="115237"/>
                  <a:pt x="677368" y="0"/>
                </a:cubicBezTo>
                <a:lnTo>
                  <a:pt x="0" y="0"/>
                </a:lnTo>
                <a:lnTo>
                  <a:pt x="0" y="6860811"/>
                </a:lnTo>
                <a:lnTo>
                  <a:pt x="7296463" y="6860811"/>
                </a:lnTo>
                <a:close/>
              </a:path>
            </a:pathLst>
          </a:custGeom>
          <a:solidFill>
            <a:srgbClr val="D3E3FF">
              <a:alpha val="30000"/>
            </a:srgbClr>
          </a:solidFill>
          <a:ln w="28107" cap="flat">
            <a:noFill/>
            <a:prstDash val="solid"/>
            <a:miter/>
          </a:ln>
        </p:spPr>
        <p:txBody>
          <a:bodyPr rtlCol="0" anchor="ctr"/>
          <a:lstStyle/>
          <a:p>
            <a:endParaRPr lang="en-ID"/>
          </a:p>
        </p:txBody>
      </p:sp>
      <p:sp>
        <p:nvSpPr>
          <p:cNvPr id="395" name="Freeform: Shape 394">
            <a:extLst>
              <a:ext uri="{FF2B5EF4-FFF2-40B4-BE49-F238E27FC236}">
                <a16:creationId xmlns:a16="http://schemas.microsoft.com/office/drawing/2014/main" xmlns="" id="{6E76F0AF-8FA8-4D3F-A3F2-88EA5BF67A62}"/>
              </a:ext>
            </a:extLst>
          </p:cNvPr>
          <p:cNvSpPr/>
          <p:nvPr/>
        </p:nvSpPr>
        <p:spPr>
          <a:xfrm rot="10800000">
            <a:off x="8677886" y="0"/>
            <a:ext cx="3514114" cy="3304296"/>
          </a:xfrm>
          <a:custGeom>
            <a:avLst/>
            <a:gdLst>
              <a:gd name="connsiteX0" fmla="*/ 7296463 w 7296462"/>
              <a:gd name="connsiteY0" fmla="*/ 6860811 h 6860810"/>
              <a:gd name="connsiteX1" fmla="*/ 6267763 w 7296462"/>
              <a:gd name="connsiteY1" fmla="*/ 5536992 h 6860810"/>
              <a:gd name="connsiteX2" fmla="*/ 5095719 w 7296462"/>
              <a:gd name="connsiteY2" fmla="*/ 3825303 h 6860810"/>
              <a:gd name="connsiteX3" fmla="*/ 2852816 w 7296462"/>
              <a:gd name="connsiteY3" fmla="*/ 1843790 h 6860810"/>
              <a:gd name="connsiteX4" fmla="*/ 677368 w 7296462"/>
              <a:gd name="connsiteY4" fmla="*/ 0 h 6860810"/>
              <a:gd name="connsiteX5" fmla="*/ 0 w 7296462"/>
              <a:gd name="connsiteY5" fmla="*/ 0 h 6860810"/>
              <a:gd name="connsiteX6" fmla="*/ 0 w 7296462"/>
              <a:gd name="connsiteY6" fmla="*/ 6860811 h 6860810"/>
              <a:gd name="connsiteX7" fmla="*/ 7296463 w 7296462"/>
              <a:gd name="connsiteY7" fmla="*/ 6860811 h 6860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296462" h="6860810">
                <a:moveTo>
                  <a:pt x="7296463" y="6860811"/>
                </a:moveTo>
                <a:cubicBezTo>
                  <a:pt x="7296463" y="6860811"/>
                  <a:pt x="6276195" y="6531964"/>
                  <a:pt x="6267763" y="5536992"/>
                </a:cubicBezTo>
                <a:cubicBezTo>
                  <a:pt x="6259330" y="4623529"/>
                  <a:pt x="5930484" y="4137285"/>
                  <a:pt x="5095719" y="3825303"/>
                </a:cubicBezTo>
                <a:cubicBezTo>
                  <a:pt x="4100747" y="3454296"/>
                  <a:pt x="3114207" y="3108585"/>
                  <a:pt x="2852816" y="1843790"/>
                </a:cubicBezTo>
                <a:cubicBezTo>
                  <a:pt x="2605478" y="646451"/>
                  <a:pt x="1995566" y="115237"/>
                  <a:pt x="677368" y="0"/>
                </a:cubicBezTo>
                <a:lnTo>
                  <a:pt x="0" y="0"/>
                </a:lnTo>
                <a:lnTo>
                  <a:pt x="0" y="6860811"/>
                </a:lnTo>
                <a:lnTo>
                  <a:pt x="7296463" y="6860811"/>
                </a:lnTo>
                <a:close/>
              </a:path>
            </a:pathLst>
          </a:custGeom>
          <a:solidFill>
            <a:srgbClr val="E6F0FF"/>
          </a:solidFill>
          <a:ln w="28107" cap="flat">
            <a:noFill/>
            <a:prstDash val="solid"/>
            <a:miter/>
          </a:ln>
        </p:spPr>
        <p:txBody>
          <a:bodyPr rtlCol="0" anchor="ctr"/>
          <a:lstStyle/>
          <a:p>
            <a:endParaRPr lang="en-ID"/>
          </a:p>
        </p:txBody>
      </p:sp>
      <p:sp>
        <p:nvSpPr>
          <p:cNvPr id="396" name="Freeform: Shape 395">
            <a:extLst>
              <a:ext uri="{FF2B5EF4-FFF2-40B4-BE49-F238E27FC236}">
                <a16:creationId xmlns:a16="http://schemas.microsoft.com/office/drawing/2014/main" xmlns="" id="{05A2032D-0DB0-4A61-BF4B-4FAFFE62F9D8}"/>
              </a:ext>
            </a:extLst>
          </p:cNvPr>
          <p:cNvSpPr/>
          <p:nvPr/>
        </p:nvSpPr>
        <p:spPr>
          <a:xfrm>
            <a:off x="-1" y="2670048"/>
            <a:ext cx="4268797" cy="4190763"/>
          </a:xfrm>
          <a:custGeom>
            <a:avLst/>
            <a:gdLst>
              <a:gd name="connsiteX0" fmla="*/ 4151339 w 4151338"/>
              <a:gd name="connsiteY0" fmla="*/ 4075451 h 4075451"/>
              <a:gd name="connsiteX1" fmla="*/ 3530184 w 4151338"/>
              <a:gd name="connsiteY1" fmla="*/ 3296899 h 4075451"/>
              <a:gd name="connsiteX2" fmla="*/ 2686987 w 4151338"/>
              <a:gd name="connsiteY2" fmla="*/ 2127667 h 4075451"/>
              <a:gd name="connsiteX3" fmla="*/ 1304144 w 4151338"/>
              <a:gd name="connsiteY3" fmla="*/ 1082103 h 4075451"/>
              <a:gd name="connsiteX4" fmla="*/ 0 w 4151338"/>
              <a:gd name="connsiteY4" fmla="*/ 0 h 4075451"/>
              <a:gd name="connsiteX5" fmla="*/ 0 w 4151338"/>
              <a:gd name="connsiteY5" fmla="*/ 4075451 h 4075451"/>
              <a:gd name="connsiteX6" fmla="*/ 4151339 w 4151338"/>
              <a:gd name="connsiteY6" fmla="*/ 4075451 h 40754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51338" h="4075451">
                <a:moveTo>
                  <a:pt x="4151339" y="4075451"/>
                </a:moveTo>
                <a:cubicBezTo>
                  <a:pt x="4151339" y="4075451"/>
                  <a:pt x="3656663" y="3965835"/>
                  <a:pt x="3530184" y="3296899"/>
                </a:cubicBezTo>
                <a:cubicBezTo>
                  <a:pt x="3403704" y="2627963"/>
                  <a:pt x="3358734" y="2434028"/>
                  <a:pt x="2686987" y="2127667"/>
                </a:cubicBezTo>
                <a:cubicBezTo>
                  <a:pt x="2012429" y="1821305"/>
                  <a:pt x="1554293" y="1863465"/>
                  <a:pt x="1304144" y="1082103"/>
                </a:cubicBezTo>
                <a:cubicBezTo>
                  <a:pt x="1053996" y="303551"/>
                  <a:pt x="685800" y="129290"/>
                  <a:pt x="0" y="0"/>
                </a:cubicBezTo>
                <a:lnTo>
                  <a:pt x="0" y="4075451"/>
                </a:lnTo>
                <a:lnTo>
                  <a:pt x="4151339" y="4075451"/>
                </a:lnTo>
                <a:close/>
              </a:path>
            </a:pathLst>
          </a:custGeom>
          <a:solidFill>
            <a:srgbClr val="4399FF"/>
          </a:solidFill>
          <a:ln w="28107" cap="flat">
            <a:noFill/>
            <a:prstDash val="solid"/>
            <a:miter/>
          </a:ln>
        </p:spPr>
        <p:txBody>
          <a:bodyPr rtlCol="0" anchor="ctr"/>
          <a:lstStyle/>
          <a:p>
            <a:endParaRPr lang="en-ID"/>
          </a:p>
        </p:txBody>
      </p:sp>
      <p:sp>
        <p:nvSpPr>
          <p:cNvPr id="398" name="Freeform: Shape 397">
            <a:extLst>
              <a:ext uri="{FF2B5EF4-FFF2-40B4-BE49-F238E27FC236}">
                <a16:creationId xmlns:a16="http://schemas.microsoft.com/office/drawing/2014/main" xmlns="" id="{85FD6B0C-A30D-4A0D-9F98-5B964BBAE52C}"/>
              </a:ext>
            </a:extLst>
          </p:cNvPr>
          <p:cNvSpPr/>
          <p:nvPr/>
        </p:nvSpPr>
        <p:spPr>
          <a:xfrm>
            <a:off x="0" y="5002967"/>
            <a:ext cx="1604884" cy="1857843"/>
          </a:xfrm>
          <a:custGeom>
            <a:avLst/>
            <a:gdLst>
              <a:gd name="connsiteX0" fmla="*/ 1604884 w 1604884"/>
              <a:gd name="connsiteY0" fmla="*/ 1857844 h 1857843"/>
              <a:gd name="connsiteX1" fmla="*/ 789794 w 1604884"/>
              <a:gd name="connsiteY1" fmla="*/ 1037132 h 1857843"/>
              <a:gd name="connsiteX2" fmla="*/ 0 w 1604884"/>
              <a:gd name="connsiteY2" fmla="*/ 0 h 1857843"/>
              <a:gd name="connsiteX3" fmla="*/ 0 w 1604884"/>
              <a:gd name="connsiteY3" fmla="*/ 1857844 h 1857843"/>
              <a:gd name="connsiteX4" fmla="*/ 1604884 w 1604884"/>
              <a:gd name="connsiteY4" fmla="*/ 1857844 h 18578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04884" h="1857843">
                <a:moveTo>
                  <a:pt x="1604884" y="1857844"/>
                </a:moveTo>
                <a:cubicBezTo>
                  <a:pt x="1604884" y="1857844"/>
                  <a:pt x="1604884" y="1453109"/>
                  <a:pt x="789794" y="1037132"/>
                </a:cubicBezTo>
                <a:cubicBezTo>
                  <a:pt x="300740" y="789794"/>
                  <a:pt x="0" y="0"/>
                  <a:pt x="0" y="0"/>
                </a:cubicBezTo>
                <a:lnTo>
                  <a:pt x="0" y="1857844"/>
                </a:lnTo>
                <a:lnTo>
                  <a:pt x="1604884" y="1857844"/>
                </a:lnTo>
                <a:close/>
              </a:path>
            </a:pathLst>
          </a:custGeom>
          <a:solidFill>
            <a:srgbClr val="FFD966"/>
          </a:solidFill>
          <a:ln w="20597" cap="flat">
            <a:noFill/>
            <a:prstDash val="solid"/>
            <a:miter/>
          </a:ln>
        </p:spPr>
        <p:txBody>
          <a:bodyPr rtlCol="0" anchor="ctr"/>
          <a:lstStyle/>
          <a:p>
            <a:endParaRPr lang="en-ID"/>
          </a:p>
        </p:txBody>
      </p:sp>
      <p:graphicFrame>
        <p:nvGraphicFramePr>
          <p:cNvPr id="409" name="Table 80">
            <a:extLst>
              <a:ext uri="{FF2B5EF4-FFF2-40B4-BE49-F238E27FC236}">
                <a16:creationId xmlns:a16="http://schemas.microsoft.com/office/drawing/2014/main" xmlns="" id="{E1132FF1-733C-4382-989F-4AC83EEDC0EE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6095999" y="602147"/>
          <a:ext cx="5468817" cy="56843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22121">
                  <a:extLst>
                    <a:ext uri="{9D8B030D-6E8A-4147-A177-3AD203B41FA5}">
                      <a16:colId xmlns:a16="http://schemas.microsoft.com/office/drawing/2014/main" xmlns="" val="3041043491"/>
                    </a:ext>
                  </a:extLst>
                </a:gridCol>
                <a:gridCol w="2267712">
                  <a:extLst>
                    <a:ext uri="{9D8B030D-6E8A-4147-A177-3AD203B41FA5}">
                      <a16:colId xmlns:a16="http://schemas.microsoft.com/office/drawing/2014/main" xmlns="" val="550227174"/>
                    </a:ext>
                  </a:extLst>
                </a:gridCol>
                <a:gridCol w="1478984">
                  <a:extLst>
                    <a:ext uri="{9D8B030D-6E8A-4147-A177-3AD203B41FA5}">
                      <a16:colId xmlns:a16="http://schemas.microsoft.com/office/drawing/2014/main" xmlns="" val="4055218074"/>
                    </a:ext>
                  </a:extLst>
                </a:gridCol>
              </a:tblGrid>
              <a:tr h="772496">
                <a:tc>
                  <a:txBody>
                    <a:bodyPr/>
                    <a:lstStyle/>
                    <a:p>
                      <a:r>
                        <a:rPr lang="en-ID" sz="1200" b="0" dirty="0">
                          <a:solidFill>
                            <a:schemeClr val="bg1"/>
                          </a:solidFill>
                          <a:latin typeface="+mj-lt"/>
                        </a:rPr>
                        <a:t>LOREM IPSUM </a:t>
                      </a:r>
                    </a:p>
                  </a:txBody>
                  <a:tcPr marL="144000" marR="108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5DC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200" b="0" dirty="0">
                          <a:solidFill>
                            <a:schemeClr val="bg1"/>
                          </a:solidFill>
                          <a:latin typeface="+mj-lt"/>
                        </a:rPr>
                        <a:t>LOREM IPSUM </a:t>
                      </a:r>
                    </a:p>
                  </a:txBody>
                  <a:tcPr marL="108000" marR="108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399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200" b="0" dirty="0">
                          <a:solidFill>
                            <a:schemeClr val="bg1"/>
                          </a:solidFill>
                          <a:latin typeface="+mj-lt"/>
                        </a:rPr>
                        <a:t>LOREM IPSUM </a:t>
                      </a:r>
                    </a:p>
                  </a:txBody>
                  <a:tcPr marL="108000" marR="108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39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85153429"/>
                  </a:ext>
                </a:extLst>
              </a:tr>
              <a:tr h="81864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D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LOREM IPSUM </a:t>
                      </a:r>
                    </a:p>
                  </a:txBody>
                  <a:tcPr marL="144000" marR="108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Lorem ipsum dolor sit amet, consectetur adipiscing elit. </a:t>
                      </a:r>
                      <a:endParaRPr lang="en-ID" sz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 marL="108000" marR="108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ID" sz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 marL="108000" marR="108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081683049"/>
                  </a:ext>
                </a:extLst>
              </a:tr>
              <a:tr h="81864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D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LOREM IPSUM </a:t>
                      </a:r>
                    </a:p>
                  </a:txBody>
                  <a:tcPr marL="144000" marR="108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Lorem ipsum dolor sit amet</a:t>
                      </a:r>
                      <a:endParaRPr lang="en-ID" sz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 marL="108000" marR="108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ID" sz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 marL="108000" marR="108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4212070066"/>
                  </a:ext>
                </a:extLst>
              </a:tr>
              <a:tr h="81864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D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LOREM IPSUM </a:t>
                      </a:r>
                    </a:p>
                  </a:txBody>
                  <a:tcPr marL="144000" marR="108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Lorem ipsum dolor sit amet</a:t>
                      </a:r>
                      <a:endParaRPr lang="en-ID" sz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 marL="108000" marR="108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ID" sz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 marL="108000" marR="108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629097583"/>
                  </a:ext>
                </a:extLst>
              </a:tr>
              <a:tr h="81864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D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LOREM IPSUM </a:t>
                      </a:r>
                    </a:p>
                  </a:txBody>
                  <a:tcPr marL="144000" marR="108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Lorem ipsum dolor sit amet, consectetur adipiscing elit. </a:t>
                      </a:r>
                      <a:endParaRPr lang="en-ID" sz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 marL="108000" marR="108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ID" sz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 marL="108000" marR="108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126143127"/>
                  </a:ext>
                </a:extLst>
              </a:tr>
              <a:tr h="81864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D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LOREM IPSUM </a:t>
                      </a:r>
                    </a:p>
                  </a:txBody>
                  <a:tcPr marL="144000" marR="108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Lorem ipsum dolor sit amet</a:t>
                      </a:r>
                      <a:endParaRPr lang="en-ID" sz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 marL="108000" marR="108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ID" sz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 marL="108000" marR="108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732565166"/>
                  </a:ext>
                </a:extLst>
              </a:tr>
              <a:tr h="81864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D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LOREM IPSUM </a:t>
                      </a:r>
                    </a:p>
                  </a:txBody>
                  <a:tcPr marL="144000" marR="108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Lorem ipsum dolor sit amet</a:t>
                      </a:r>
                      <a:endParaRPr lang="en-ID" sz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 marL="108000" marR="108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ID" sz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 marL="108000" marR="108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4263576855"/>
                  </a:ext>
                </a:extLst>
              </a:tr>
            </a:tbl>
          </a:graphicData>
        </a:graphic>
      </p:graphicFrame>
      <p:grpSp>
        <p:nvGrpSpPr>
          <p:cNvPr id="426" name="Group 425">
            <a:extLst>
              <a:ext uri="{FF2B5EF4-FFF2-40B4-BE49-F238E27FC236}">
                <a16:creationId xmlns:a16="http://schemas.microsoft.com/office/drawing/2014/main" xmlns="" id="{6BD73D8A-0A92-4B64-ACAA-43CABA17A7DE}"/>
              </a:ext>
            </a:extLst>
          </p:cNvPr>
          <p:cNvGrpSpPr/>
          <p:nvPr/>
        </p:nvGrpSpPr>
        <p:grpSpPr>
          <a:xfrm>
            <a:off x="10610671" y="2381772"/>
            <a:ext cx="386922" cy="386922"/>
            <a:chOff x="10610671" y="1254276"/>
            <a:chExt cx="386922" cy="386922"/>
          </a:xfrm>
        </p:grpSpPr>
        <p:sp>
          <p:nvSpPr>
            <p:cNvPr id="419" name="Oval 418">
              <a:extLst>
                <a:ext uri="{FF2B5EF4-FFF2-40B4-BE49-F238E27FC236}">
                  <a16:creationId xmlns:a16="http://schemas.microsoft.com/office/drawing/2014/main" xmlns="" id="{5137270D-5522-423D-AA96-874106097527}"/>
                </a:ext>
              </a:extLst>
            </p:cNvPr>
            <p:cNvSpPr/>
            <p:nvPr/>
          </p:nvSpPr>
          <p:spPr>
            <a:xfrm>
              <a:off x="10610671" y="1254276"/>
              <a:ext cx="386922" cy="38692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421" name="Freeform: Shape 420">
              <a:extLst>
                <a:ext uri="{FF2B5EF4-FFF2-40B4-BE49-F238E27FC236}">
                  <a16:creationId xmlns:a16="http://schemas.microsoft.com/office/drawing/2014/main" xmlns="" id="{B677FA8A-A91C-44E7-B87A-DB491E4DC396}"/>
                </a:ext>
              </a:extLst>
            </p:cNvPr>
            <p:cNvSpPr/>
            <p:nvPr/>
          </p:nvSpPr>
          <p:spPr>
            <a:xfrm>
              <a:off x="10725802" y="1365873"/>
              <a:ext cx="156660" cy="156006"/>
            </a:xfrm>
            <a:custGeom>
              <a:avLst/>
              <a:gdLst>
                <a:gd name="connsiteX0" fmla="*/ 227171 w 228600"/>
                <a:gd name="connsiteY0" fmla="*/ 177641 h 227647"/>
                <a:gd name="connsiteX1" fmla="*/ 164306 w 228600"/>
                <a:gd name="connsiteY1" fmla="*/ 114776 h 227647"/>
                <a:gd name="connsiteX2" fmla="*/ 227171 w 228600"/>
                <a:gd name="connsiteY2" fmla="*/ 50959 h 227647"/>
                <a:gd name="connsiteX3" fmla="*/ 227171 w 228600"/>
                <a:gd name="connsiteY3" fmla="*/ 44291 h 227647"/>
                <a:gd name="connsiteX4" fmla="*/ 184309 w 228600"/>
                <a:gd name="connsiteY4" fmla="*/ 1429 h 227647"/>
                <a:gd name="connsiteX5" fmla="*/ 177641 w 228600"/>
                <a:gd name="connsiteY5" fmla="*/ 1429 h 227647"/>
                <a:gd name="connsiteX6" fmla="*/ 113824 w 228600"/>
                <a:gd name="connsiteY6" fmla="*/ 64294 h 227647"/>
                <a:gd name="connsiteX7" fmla="*/ 50959 w 228600"/>
                <a:gd name="connsiteY7" fmla="*/ 1429 h 227647"/>
                <a:gd name="connsiteX8" fmla="*/ 44291 w 228600"/>
                <a:gd name="connsiteY8" fmla="*/ 1429 h 227647"/>
                <a:gd name="connsiteX9" fmla="*/ 1429 w 228600"/>
                <a:gd name="connsiteY9" fmla="*/ 44291 h 227647"/>
                <a:gd name="connsiteX10" fmla="*/ 1429 w 228600"/>
                <a:gd name="connsiteY10" fmla="*/ 50959 h 227647"/>
                <a:gd name="connsiteX11" fmla="*/ 64294 w 228600"/>
                <a:gd name="connsiteY11" fmla="*/ 113824 h 227647"/>
                <a:gd name="connsiteX12" fmla="*/ 1429 w 228600"/>
                <a:gd name="connsiteY12" fmla="*/ 176689 h 227647"/>
                <a:gd name="connsiteX13" fmla="*/ 1429 w 228600"/>
                <a:gd name="connsiteY13" fmla="*/ 183356 h 227647"/>
                <a:gd name="connsiteX14" fmla="*/ 44291 w 228600"/>
                <a:gd name="connsiteY14" fmla="*/ 226219 h 227647"/>
                <a:gd name="connsiteX15" fmla="*/ 44291 w 228600"/>
                <a:gd name="connsiteY15" fmla="*/ 226219 h 227647"/>
                <a:gd name="connsiteX16" fmla="*/ 50959 w 228600"/>
                <a:gd name="connsiteY16" fmla="*/ 226219 h 227647"/>
                <a:gd name="connsiteX17" fmla="*/ 113824 w 228600"/>
                <a:gd name="connsiteY17" fmla="*/ 163354 h 227647"/>
                <a:gd name="connsiteX18" fmla="*/ 176689 w 228600"/>
                <a:gd name="connsiteY18" fmla="*/ 226219 h 227647"/>
                <a:gd name="connsiteX19" fmla="*/ 183356 w 228600"/>
                <a:gd name="connsiteY19" fmla="*/ 226219 h 227647"/>
                <a:gd name="connsiteX20" fmla="*/ 226219 w 228600"/>
                <a:gd name="connsiteY20" fmla="*/ 183356 h 227647"/>
                <a:gd name="connsiteX21" fmla="*/ 226219 w 228600"/>
                <a:gd name="connsiteY21" fmla="*/ 183356 h 227647"/>
                <a:gd name="connsiteX22" fmla="*/ 227171 w 228600"/>
                <a:gd name="connsiteY22" fmla="*/ 177641 h 22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28600" h="227647">
                  <a:moveTo>
                    <a:pt x="227171" y="177641"/>
                  </a:moveTo>
                  <a:lnTo>
                    <a:pt x="164306" y="114776"/>
                  </a:lnTo>
                  <a:lnTo>
                    <a:pt x="227171" y="50959"/>
                  </a:lnTo>
                  <a:cubicBezTo>
                    <a:pt x="229076" y="49054"/>
                    <a:pt x="229076" y="46196"/>
                    <a:pt x="227171" y="44291"/>
                  </a:cubicBezTo>
                  <a:lnTo>
                    <a:pt x="184309" y="1429"/>
                  </a:lnTo>
                  <a:cubicBezTo>
                    <a:pt x="182404" y="-476"/>
                    <a:pt x="179546" y="-476"/>
                    <a:pt x="177641" y="1429"/>
                  </a:cubicBezTo>
                  <a:lnTo>
                    <a:pt x="113824" y="64294"/>
                  </a:lnTo>
                  <a:lnTo>
                    <a:pt x="50959" y="1429"/>
                  </a:lnTo>
                  <a:cubicBezTo>
                    <a:pt x="49054" y="-476"/>
                    <a:pt x="46196" y="-476"/>
                    <a:pt x="44291" y="1429"/>
                  </a:cubicBezTo>
                  <a:lnTo>
                    <a:pt x="1429" y="44291"/>
                  </a:lnTo>
                  <a:cubicBezTo>
                    <a:pt x="-476" y="46196"/>
                    <a:pt x="-476" y="49054"/>
                    <a:pt x="1429" y="50959"/>
                  </a:cubicBezTo>
                  <a:lnTo>
                    <a:pt x="64294" y="113824"/>
                  </a:lnTo>
                  <a:lnTo>
                    <a:pt x="1429" y="176689"/>
                  </a:lnTo>
                  <a:cubicBezTo>
                    <a:pt x="-476" y="178594"/>
                    <a:pt x="-476" y="181451"/>
                    <a:pt x="1429" y="183356"/>
                  </a:cubicBezTo>
                  <a:lnTo>
                    <a:pt x="44291" y="226219"/>
                  </a:lnTo>
                  <a:cubicBezTo>
                    <a:pt x="44291" y="226219"/>
                    <a:pt x="44291" y="226219"/>
                    <a:pt x="44291" y="226219"/>
                  </a:cubicBezTo>
                  <a:cubicBezTo>
                    <a:pt x="46196" y="228124"/>
                    <a:pt x="49054" y="228124"/>
                    <a:pt x="50959" y="226219"/>
                  </a:cubicBezTo>
                  <a:lnTo>
                    <a:pt x="113824" y="163354"/>
                  </a:lnTo>
                  <a:lnTo>
                    <a:pt x="176689" y="226219"/>
                  </a:lnTo>
                  <a:cubicBezTo>
                    <a:pt x="178594" y="228124"/>
                    <a:pt x="181451" y="228124"/>
                    <a:pt x="183356" y="226219"/>
                  </a:cubicBezTo>
                  <a:lnTo>
                    <a:pt x="226219" y="183356"/>
                  </a:lnTo>
                  <a:cubicBezTo>
                    <a:pt x="226219" y="183356"/>
                    <a:pt x="226219" y="183356"/>
                    <a:pt x="226219" y="183356"/>
                  </a:cubicBezTo>
                  <a:cubicBezTo>
                    <a:pt x="229076" y="182404"/>
                    <a:pt x="228124" y="179546"/>
                    <a:pt x="227171" y="177641"/>
                  </a:cubicBezTo>
                  <a:close/>
                </a:path>
              </a:pathLst>
            </a:custGeom>
            <a:solidFill>
              <a:srgbClr val="C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D"/>
            </a:p>
          </p:txBody>
        </p:sp>
      </p:grpSp>
      <p:grpSp>
        <p:nvGrpSpPr>
          <p:cNvPr id="428" name="Group 427">
            <a:extLst>
              <a:ext uri="{FF2B5EF4-FFF2-40B4-BE49-F238E27FC236}">
                <a16:creationId xmlns:a16="http://schemas.microsoft.com/office/drawing/2014/main" xmlns="" id="{39624F84-B3EA-4814-B41D-9027D4CA23C6}"/>
              </a:ext>
            </a:extLst>
          </p:cNvPr>
          <p:cNvGrpSpPr/>
          <p:nvPr/>
        </p:nvGrpSpPr>
        <p:grpSpPr>
          <a:xfrm>
            <a:off x="10610671" y="1566175"/>
            <a:ext cx="386922" cy="386922"/>
            <a:chOff x="10610671" y="1938128"/>
            <a:chExt cx="386922" cy="386922"/>
          </a:xfrm>
        </p:grpSpPr>
        <p:sp>
          <p:nvSpPr>
            <p:cNvPr id="429" name="Oval 428">
              <a:extLst>
                <a:ext uri="{FF2B5EF4-FFF2-40B4-BE49-F238E27FC236}">
                  <a16:creationId xmlns:a16="http://schemas.microsoft.com/office/drawing/2014/main" xmlns="" id="{05463888-4319-4963-A420-DD3E7BAC2ACA}"/>
                </a:ext>
              </a:extLst>
            </p:cNvPr>
            <p:cNvSpPr/>
            <p:nvPr/>
          </p:nvSpPr>
          <p:spPr>
            <a:xfrm>
              <a:off x="10610671" y="1938128"/>
              <a:ext cx="386922" cy="38692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430" name="Freeform: Shape 429">
              <a:extLst>
                <a:ext uri="{FF2B5EF4-FFF2-40B4-BE49-F238E27FC236}">
                  <a16:creationId xmlns:a16="http://schemas.microsoft.com/office/drawing/2014/main" xmlns="" id="{F2E1FF64-C70A-4408-997F-469E6565AC39}"/>
                </a:ext>
              </a:extLst>
            </p:cNvPr>
            <p:cNvSpPr/>
            <p:nvPr/>
          </p:nvSpPr>
          <p:spPr>
            <a:xfrm>
              <a:off x="10707161" y="2052428"/>
              <a:ext cx="193942" cy="165704"/>
            </a:xfrm>
            <a:custGeom>
              <a:avLst/>
              <a:gdLst>
                <a:gd name="connsiteX0" fmla="*/ 247174 w 248602"/>
                <a:gd name="connsiteY0" fmla="*/ 37624 h 212407"/>
                <a:gd name="connsiteX1" fmla="*/ 210979 w 248602"/>
                <a:gd name="connsiteY1" fmla="*/ 1429 h 212407"/>
                <a:gd name="connsiteX2" fmla="*/ 203359 w 248602"/>
                <a:gd name="connsiteY2" fmla="*/ 1429 h 212407"/>
                <a:gd name="connsiteX3" fmla="*/ 77629 w 248602"/>
                <a:gd name="connsiteY3" fmla="*/ 127159 h 212407"/>
                <a:gd name="connsiteX4" fmla="*/ 45244 w 248602"/>
                <a:gd name="connsiteY4" fmla="*/ 94774 h 212407"/>
                <a:gd name="connsiteX5" fmla="*/ 37624 w 248602"/>
                <a:gd name="connsiteY5" fmla="*/ 94774 h 212407"/>
                <a:gd name="connsiteX6" fmla="*/ 1429 w 248602"/>
                <a:gd name="connsiteY6" fmla="*/ 130969 h 212407"/>
                <a:gd name="connsiteX7" fmla="*/ 1429 w 248602"/>
                <a:gd name="connsiteY7" fmla="*/ 138589 h 212407"/>
                <a:gd name="connsiteX8" fmla="*/ 73819 w 248602"/>
                <a:gd name="connsiteY8" fmla="*/ 210979 h 212407"/>
                <a:gd name="connsiteX9" fmla="*/ 81439 w 248602"/>
                <a:gd name="connsiteY9" fmla="*/ 210979 h 212407"/>
                <a:gd name="connsiteX10" fmla="*/ 247174 w 248602"/>
                <a:gd name="connsiteY10" fmla="*/ 44291 h 212407"/>
                <a:gd name="connsiteX11" fmla="*/ 247174 w 248602"/>
                <a:gd name="connsiteY11" fmla="*/ 37624 h 2124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48602" h="212407">
                  <a:moveTo>
                    <a:pt x="247174" y="37624"/>
                  </a:moveTo>
                  <a:lnTo>
                    <a:pt x="210979" y="1429"/>
                  </a:lnTo>
                  <a:cubicBezTo>
                    <a:pt x="209074" y="-476"/>
                    <a:pt x="205264" y="-476"/>
                    <a:pt x="203359" y="1429"/>
                  </a:cubicBezTo>
                  <a:lnTo>
                    <a:pt x="77629" y="127159"/>
                  </a:lnTo>
                  <a:lnTo>
                    <a:pt x="45244" y="94774"/>
                  </a:lnTo>
                  <a:cubicBezTo>
                    <a:pt x="42386" y="92869"/>
                    <a:pt x="39529" y="92869"/>
                    <a:pt x="37624" y="94774"/>
                  </a:cubicBezTo>
                  <a:lnTo>
                    <a:pt x="1429" y="130969"/>
                  </a:lnTo>
                  <a:cubicBezTo>
                    <a:pt x="-476" y="132874"/>
                    <a:pt x="-476" y="135731"/>
                    <a:pt x="1429" y="138589"/>
                  </a:cubicBezTo>
                  <a:lnTo>
                    <a:pt x="73819" y="210979"/>
                  </a:lnTo>
                  <a:cubicBezTo>
                    <a:pt x="75724" y="212884"/>
                    <a:pt x="79534" y="212884"/>
                    <a:pt x="81439" y="210979"/>
                  </a:cubicBezTo>
                  <a:lnTo>
                    <a:pt x="247174" y="44291"/>
                  </a:lnTo>
                  <a:cubicBezTo>
                    <a:pt x="249079" y="42386"/>
                    <a:pt x="249079" y="39529"/>
                    <a:pt x="247174" y="37624"/>
                  </a:cubicBezTo>
                  <a:close/>
                </a:path>
              </a:pathLst>
            </a:custGeom>
            <a:solidFill>
              <a:srgbClr val="4FE59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D"/>
            </a:p>
          </p:txBody>
        </p:sp>
      </p:grpSp>
      <p:grpSp>
        <p:nvGrpSpPr>
          <p:cNvPr id="431" name="Group 430">
            <a:extLst>
              <a:ext uri="{FF2B5EF4-FFF2-40B4-BE49-F238E27FC236}">
                <a16:creationId xmlns:a16="http://schemas.microsoft.com/office/drawing/2014/main" xmlns="" id="{B44A2612-18CF-4D57-81A7-40BD8ECCDE79}"/>
              </a:ext>
            </a:extLst>
          </p:cNvPr>
          <p:cNvGrpSpPr/>
          <p:nvPr/>
        </p:nvGrpSpPr>
        <p:grpSpPr>
          <a:xfrm>
            <a:off x="10610671" y="3197369"/>
            <a:ext cx="386922" cy="386922"/>
            <a:chOff x="10610671" y="1938128"/>
            <a:chExt cx="386922" cy="386922"/>
          </a:xfrm>
        </p:grpSpPr>
        <p:sp>
          <p:nvSpPr>
            <p:cNvPr id="432" name="Oval 431">
              <a:extLst>
                <a:ext uri="{FF2B5EF4-FFF2-40B4-BE49-F238E27FC236}">
                  <a16:creationId xmlns:a16="http://schemas.microsoft.com/office/drawing/2014/main" xmlns="" id="{1FC4E0F3-ACED-49F6-9726-53CA62DF24CF}"/>
                </a:ext>
              </a:extLst>
            </p:cNvPr>
            <p:cNvSpPr/>
            <p:nvPr/>
          </p:nvSpPr>
          <p:spPr>
            <a:xfrm>
              <a:off x="10610671" y="1938128"/>
              <a:ext cx="386922" cy="38692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433" name="Freeform: Shape 432">
              <a:extLst>
                <a:ext uri="{FF2B5EF4-FFF2-40B4-BE49-F238E27FC236}">
                  <a16:creationId xmlns:a16="http://schemas.microsoft.com/office/drawing/2014/main" xmlns="" id="{852124FD-26C9-499B-B60B-1A8C314C8B38}"/>
                </a:ext>
              </a:extLst>
            </p:cNvPr>
            <p:cNvSpPr/>
            <p:nvPr/>
          </p:nvSpPr>
          <p:spPr>
            <a:xfrm>
              <a:off x="10707161" y="2052428"/>
              <a:ext cx="193942" cy="165704"/>
            </a:xfrm>
            <a:custGeom>
              <a:avLst/>
              <a:gdLst>
                <a:gd name="connsiteX0" fmla="*/ 247174 w 248602"/>
                <a:gd name="connsiteY0" fmla="*/ 37624 h 212407"/>
                <a:gd name="connsiteX1" fmla="*/ 210979 w 248602"/>
                <a:gd name="connsiteY1" fmla="*/ 1429 h 212407"/>
                <a:gd name="connsiteX2" fmla="*/ 203359 w 248602"/>
                <a:gd name="connsiteY2" fmla="*/ 1429 h 212407"/>
                <a:gd name="connsiteX3" fmla="*/ 77629 w 248602"/>
                <a:gd name="connsiteY3" fmla="*/ 127159 h 212407"/>
                <a:gd name="connsiteX4" fmla="*/ 45244 w 248602"/>
                <a:gd name="connsiteY4" fmla="*/ 94774 h 212407"/>
                <a:gd name="connsiteX5" fmla="*/ 37624 w 248602"/>
                <a:gd name="connsiteY5" fmla="*/ 94774 h 212407"/>
                <a:gd name="connsiteX6" fmla="*/ 1429 w 248602"/>
                <a:gd name="connsiteY6" fmla="*/ 130969 h 212407"/>
                <a:gd name="connsiteX7" fmla="*/ 1429 w 248602"/>
                <a:gd name="connsiteY7" fmla="*/ 138589 h 212407"/>
                <a:gd name="connsiteX8" fmla="*/ 73819 w 248602"/>
                <a:gd name="connsiteY8" fmla="*/ 210979 h 212407"/>
                <a:gd name="connsiteX9" fmla="*/ 81439 w 248602"/>
                <a:gd name="connsiteY9" fmla="*/ 210979 h 212407"/>
                <a:gd name="connsiteX10" fmla="*/ 247174 w 248602"/>
                <a:gd name="connsiteY10" fmla="*/ 44291 h 212407"/>
                <a:gd name="connsiteX11" fmla="*/ 247174 w 248602"/>
                <a:gd name="connsiteY11" fmla="*/ 37624 h 2124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48602" h="212407">
                  <a:moveTo>
                    <a:pt x="247174" y="37624"/>
                  </a:moveTo>
                  <a:lnTo>
                    <a:pt x="210979" y="1429"/>
                  </a:lnTo>
                  <a:cubicBezTo>
                    <a:pt x="209074" y="-476"/>
                    <a:pt x="205264" y="-476"/>
                    <a:pt x="203359" y="1429"/>
                  </a:cubicBezTo>
                  <a:lnTo>
                    <a:pt x="77629" y="127159"/>
                  </a:lnTo>
                  <a:lnTo>
                    <a:pt x="45244" y="94774"/>
                  </a:lnTo>
                  <a:cubicBezTo>
                    <a:pt x="42386" y="92869"/>
                    <a:pt x="39529" y="92869"/>
                    <a:pt x="37624" y="94774"/>
                  </a:cubicBezTo>
                  <a:lnTo>
                    <a:pt x="1429" y="130969"/>
                  </a:lnTo>
                  <a:cubicBezTo>
                    <a:pt x="-476" y="132874"/>
                    <a:pt x="-476" y="135731"/>
                    <a:pt x="1429" y="138589"/>
                  </a:cubicBezTo>
                  <a:lnTo>
                    <a:pt x="73819" y="210979"/>
                  </a:lnTo>
                  <a:cubicBezTo>
                    <a:pt x="75724" y="212884"/>
                    <a:pt x="79534" y="212884"/>
                    <a:pt x="81439" y="210979"/>
                  </a:cubicBezTo>
                  <a:lnTo>
                    <a:pt x="247174" y="44291"/>
                  </a:lnTo>
                  <a:cubicBezTo>
                    <a:pt x="249079" y="42386"/>
                    <a:pt x="249079" y="39529"/>
                    <a:pt x="247174" y="37624"/>
                  </a:cubicBezTo>
                  <a:close/>
                </a:path>
              </a:pathLst>
            </a:custGeom>
            <a:solidFill>
              <a:srgbClr val="4FE59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D"/>
            </a:p>
          </p:txBody>
        </p:sp>
      </p:grpSp>
      <p:grpSp>
        <p:nvGrpSpPr>
          <p:cNvPr id="434" name="Group 433">
            <a:extLst>
              <a:ext uri="{FF2B5EF4-FFF2-40B4-BE49-F238E27FC236}">
                <a16:creationId xmlns:a16="http://schemas.microsoft.com/office/drawing/2014/main" xmlns="" id="{7E7EB8D3-B8CB-4244-84DF-41BED0101607}"/>
              </a:ext>
            </a:extLst>
          </p:cNvPr>
          <p:cNvGrpSpPr/>
          <p:nvPr/>
        </p:nvGrpSpPr>
        <p:grpSpPr>
          <a:xfrm>
            <a:off x="10610671" y="4012966"/>
            <a:ext cx="386922" cy="386922"/>
            <a:chOff x="10610671" y="1938128"/>
            <a:chExt cx="386922" cy="386922"/>
          </a:xfrm>
        </p:grpSpPr>
        <p:sp>
          <p:nvSpPr>
            <p:cNvPr id="435" name="Oval 434">
              <a:extLst>
                <a:ext uri="{FF2B5EF4-FFF2-40B4-BE49-F238E27FC236}">
                  <a16:creationId xmlns:a16="http://schemas.microsoft.com/office/drawing/2014/main" xmlns="" id="{00714718-2FA6-4617-A97F-C578C0BBE436}"/>
                </a:ext>
              </a:extLst>
            </p:cNvPr>
            <p:cNvSpPr/>
            <p:nvPr/>
          </p:nvSpPr>
          <p:spPr>
            <a:xfrm>
              <a:off x="10610671" y="1938128"/>
              <a:ext cx="386922" cy="38692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436" name="Freeform: Shape 435">
              <a:extLst>
                <a:ext uri="{FF2B5EF4-FFF2-40B4-BE49-F238E27FC236}">
                  <a16:creationId xmlns:a16="http://schemas.microsoft.com/office/drawing/2014/main" xmlns="" id="{A51510BC-FD3B-4825-8B53-DCA8175F76AF}"/>
                </a:ext>
              </a:extLst>
            </p:cNvPr>
            <p:cNvSpPr/>
            <p:nvPr/>
          </p:nvSpPr>
          <p:spPr>
            <a:xfrm>
              <a:off x="10707161" y="2052428"/>
              <a:ext cx="193942" cy="165704"/>
            </a:xfrm>
            <a:custGeom>
              <a:avLst/>
              <a:gdLst>
                <a:gd name="connsiteX0" fmla="*/ 247174 w 248602"/>
                <a:gd name="connsiteY0" fmla="*/ 37624 h 212407"/>
                <a:gd name="connsiteX1" fmla="*/ 210979 w 248602"/>
                <a:gd name="connsiteY1" fmla="*/ 1429 h 212407"/>
                <a:gd name="connsiteX2" fmla="*/ 203359 w 248602"/>
                <a:gd name="connsiteY2" fmla="*/ 1429 h 212407"/>
                <a:gd name="connsiteX3" fmla="*/ 77629 w 248602"/>
                <a:gd name="connsiteY3" fmla="*/ 127159 h 212407"/>
                <a:gd name="connsiteX4" fmla="*/ 45244 w 248602"/>
                <a:gd name="connsiteY4" fmla="*/ 94774 h 212407"/>
                <a:gd name="connsiteX5" fmla="*/ 37624 w 248602"/>
                <a:gd name="connsiteY5" fmla="*/ 94774 h 212407"/>
                <a:gd name="connsiteX6" fmla="*/ 1429 w 248602"/>
                <a:gd name="connsiteY6" fmla="*/ 130969 h 212407"/>
                <a:gd name="connsiteX7" fmla="*/ 1429 w 248602"/>
                <a:gd name="connsiteY7" fmla="*/ 138589 h 212407"/>
                <a:gd name="connsiteX8" fmla="*/ 73819 w 248602"/>
                <a:gd name="connsiteY8" fmla="*/ 210979 h 212407"/>
                <a:gd name="connsiteX9" fmla="*/ 81439 w 248602"/>
                <a:gd name="connsiteY9" fmla="*/ 210979 h 212407"/>
                <a:gd name="connsiteX10" fmla="*/ 247174 w 248602"/>
                <a:gd name="connsiteY10" fmla="*/ 44291 h 212407"/>
                <a:gd name="connsiteX11" fmla="*/ 247174 w 248602"/>
                <a:gd name="connsiteY11" fmla="*/ 37624 h 2124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48602" h="212407">
                  <a:moveTo>
                    <a:pt x="247174" y="37624"/>
                  </a:moveTo>
                  <a:lnTo>
                    <a:pt x="210979" y="1429"/>
                  </a:lnTo>
                  <a:cubicBezTo>
                    <a:pt x="209074" y="-476"/>
                    <a:pt x="205264" y="-476"/>
                    <a:pt x="203359" y="1429"/>
                  </a:cubicBezTo>
                  <a:lnTo>
                    <a:pt x="77629" y="127159"/>
                  </a:lnTo>
                  <a:lnTo>
                    <a:pt x="45244" y="94774"/>
                  </a:lnTo>
                  <a:cubicBezTo>
                    <a:pt x="42386" y="92869"/>
                    <a:pt x="39529" y="92869"/>
                    <a:pt x="37624" y="94774"/>
                  </a:cubicBezTo>
                  <a:lnTo>
                    <a:pt x="1429" y="130969"/>
                  </a:lnTo>
                  <a:cubicBezTo>
                    <a:pt x="-476" y="132874"/>
                    <a:pt x="-476" y="135731"/>
                    <a:pt x="1429" y="138589"/>
                  </a:cubicBezTo>
                  <a:lnTo>
                    <a:pt x="73819" y="210979"/>
                  </a:lnTo>
                  <a:cubicBezTo>
                    <a:pt x="75724" y="212884"/>
                    <a:pt x="79534" y="212884"/>
                    <a:pt x="81439" y="210979"/>
                  </a:cubicBezTo>
                  <a:lnTo>
                    <a:pt x="247174" y="44291"/>
                  </a:lnTo>
                  <a:cubicBezTo>
                    <a:pt x="249079" y="42386"/>
                    <a:pt x="249079" y="39529"/>
                    <a:pt x="247174" y="37624"/>
                  </a:cubicBezTo>
                  <a:close/>
                </a:path>
              </a:pathLst>
            </a:custGeom>
            <a:solidFill>
              <a:srgbClr val="4FE59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D"/>
            </a:p>
          </p:txBody>
        </p:sp>
      </p:grpSp>
      <p:grpSp>
        <p:nvGrpSpPr>
          <p:cNvPr id="437" name="Group 436">
            <a:extLst>
              <a:ext uri="{FF2B5EF4-FFF2-40B4-BE49-F238E27FC236}">
                <a16:creationId xmlns:a16="http://schemas.microsoft.com/office/drawing/2014/main" xmlns="" id="{E3438D66-2B59-4876-9CFF-B45A98FAE372}"/>
              </a:ext>
            </a:extLst>
          </p:cNvPr>
          <p:cNvGrpSpPr/>
          <p:nvPr/>
        </p:nvGrpSpPr>
        <p:grpSpPr>
          <a:xfrm>
            <a:off x="10610671" y="4828563"/>
            <a:ext cx="386922" cy="386922"/>
            <a:chOff x="10610671" y="1938128"/>
            <a:chExt cx="386922" cy="386922"/>
          </a:xfrm>
        </p:grpSpPr>
        <p:sp>
          <p:nvSpPr>
            <p:cNvPr id="438" name="Oval 437">
              <a:extLst>
                <a:ext uri="{FF2B5EF4-FFF2-40B4-BE49-F238E27FC236}">
                  <a16:creationId xmlns:a16="http://schemas.microsoft.com/office/drawing/2014/main" xmlns="" id="{A5E5357B-6CBA-4192-82AC-23509CD209EF}"/>
                </a:ext>
              </a:extLst>
            </p:cNvPr>
            <p:cNvSpPr/>
            <p:nvPr/>
          </p:nvSpPr>
          <p:spPr>
            <a:xfrm>
              <a:off x="10610671" y="1938128"/>
              <a:ext cx="386922" cy="38692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439" name="Freeform: Shape 438">
              <a:extLst>
                <a:ext uri="{FF2B5EF4-FFF2-40B4-BE49-F238E27FC236}">
                  <a16:creationId xmlns:a16="http://schemas.microsoft.com/office/drawing/2014/main" xmlns="" id="{ED0B5009-1E7C-4764-9958-B5B6573388EA}"/>
                </a:ext>
              </a:extLst>
            </p:cNvPr>
            <p:cNvSpPr/>
            <p:nvPr/>
          </p:nvSpPr>
          <p:spPr>
            <a:xfrm>
              <a:off x="10707161" y="2052428"/>
              <a:ext cx="193942" cy="165704"/>
            </a:xfrm>
            <a:custGeom>
              <a:avLst/>
              <a:gdLst>
                <a:gd name="connsiteX0" fmla="*/ 247174 w 248602"/>
                <a:gd name="connsiteY0" fmla="*/ 37624 h 212407"/>
                <a:gd name="connsiteX1" fmla="*/ 210979 w 248602"/>
                <a:gd name="connsiteY1" fmla="*/ 1429 h 212407"/>
                <a:gd name="connsiteX2" fmla="*/ 203359 w 248602"/>
                <a:gd name="connsiteY2" fmla="*/ 1429 h 212407"/>
                <a:gd name="connsiteX3" fmla="*/ 77629 w 248602"/>
                <a:gd name="connsiteY3" fmla="*/ 127159 h 212407"/>
                <a:gd name="connsiteX4" fmla="*/ 45244 w 248602"/>
                <a:gd name="connsiteY4" fmla="*/ 94774 h 212407"/>
                <a:gd name="connsiteX5" fmla="*/ 37624 w 248602"/>
                <a:gd name="connsiteY5" fmla="*/ 94774 h 212407"/>
                <a:gd name="connsiteX6" fmla="*/ 1429 w 248602"/>
                <a:gd name="connsiteY6" fmla="*/ 130969 h 212407"/>
                <a:gd name="connsiteX7" fmla="*/ 1429 w 248602"/>
                <a:gd name="connsiteY7" fmla="*/ 138589 h 212407"/>
                <a:gd name="connsiteX8" fmla="*/ 73819 w 248602"/>
                <a:gd name="connsiteY8" fmla="*/ 210979 h 212407"/>
                <a:gd name="connsiteX9" fmla="*/ 81439 w 248602"/>
                <a:gd name="connsiteY9" fmla="*/ 210979 h 212407"/>
                <a:gd name="connsiteX10" fmla="*/ 247174 w 248602"/>
                <a:gd name="connsiteY10" fmla="*/ 44291 h 212407"/>
                <a:gd name="connsiteX11" fmla="*/ 247174 w 248602"/>
                <a:gd name="connsiteY11" fmla="*/ 37624 h 2124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48602" h="212407">
                  <a:moveTo>
                    <a:pt x="247174" y="37624"/>
                  </a:moveTo>
                  <a:lnTo>
                    <a:pt x="210979" y="1429"/>
                  </a:lnTo>
                  <a:cubicBezTo>
                    <a:pt x="209074" y="-476"/>
                    <a:pt x="205264" y="-476"/>
                    <a:pt x="203359" y="1429"/>
                  </a:cubicBezTo>
                  <a:lnTo>
                    <a:pt x="77629" y="127159"/>
                  </a:lnTo>
                  <a:lnTo>
                    <a:pt x="45244" y="94774"/>
                  </a:lnTo>
                  <a:cubicBezTo>
                    <a:pt x="42386" y="92869"/>
                    <a:pt x="39529" y="92869"/>
                    <a:pt x="37624" y="94774"/>
                  </a:cubicBezTo>
                  <a:lnTo>
                    <a:pt x="1429" y="130969"/>
                  </a:lnTo>
                  <a:cubicBezTo>
                    <a:pt x="-476" y="132874"/>
                    <a:pt x="-476" y="135731"/>
                    <a:pt x="1429" y="138589"/>
                  </a:cubicBezTo>
                  <a:lnTo>
                    <a:pt x="73819" y="210979"/>
                  </a:lnTo>
                  <a:cubicBezTo>
                    <a:pt x="75724" y="212884"/>
                    <a:pt x="79534" y="212884"/>
                    <a:pt x="81439" y="210979"/>
                  </a:cubicBezTo>
                  <a:lnTo>
                    <a:pt x="247174" y="44291"/>
                  </a:lnTo>
                  <a:cubicBezTo>
                    <a:pt x="249079" y="42386"/>
                    <a:pt x="249079" y="39529"/>
                    <a:pt x="247174" y="37624"/>
                  </a:cubicBezTo>
                  <a:close/>
                </a:path>
              </a:pathLst>
            </a:custGeom>
            <a:solidFill>
              <a:srgbClr val="4FE59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D"/>
            </a:p>
          </p:txBody>
        </p:sp>
      </p:grpSp>
      <p:pic>
        <p:nvPicPr>
          <p:cNvPr id="453" name="Graphic 452">
            <a:extLst>
              <a:ext uri="{FF2B5EF4-FFF2-40B4-BE49-F238E27FC236}">
                <a16:creationId xmlns:a16="http://schemas.microsoft.com/office/drawing/2014/main" xmlns="" id="{055513C8-D431-4648-ABED-6D4CFB512A6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411480" y="2860495"/>
            <a:ext cx="5303520" cy="3994566"/>
          </a:xfrm>
          <a:prstGeom prst="rect">
            <a:avLst/>
          </a:prstGeom>
        </p:spPr>
      </p:pic>
      <p:grpSp>
        <p:nvGrpSpPr>
          <p:cNvPr id="454" name="Group 453">
            <a:extLst>
              <a:ext uri="{FF2B5EF4-FFF2-40B4-BE49-F238E27FC236}">
                <a16:creationId xmlns:a16="http://schemas.microsoft.com/office/drawing/2014/main" xmlns="" id="{C44E8B04-4BAF-4B65-87AF-8A7D64F46F26}"/>
              </a:ext>
            </a:extLst>
          </p:cNvPr>
          <p:cNvGrpSpPr/>
          <p:nvPr/>
        </p:nvGrpSpPr>
        <p:grpSpPr>
          <a:xfrm>
            <a:off x="10610671" y="5644161"/>
            <a:ext cx="386922" cy="386922"/>
            <a:chOff x="10610671" y="1254276"/>
            <a:chExt cx="386922" cy="386922"/>
          </a:xfrm>
        </p:grpSpPr>
        <p:sp>
          <p:nvSpPr>
            <p:cNvPr id="455" name="Oval 454">
              <a:extLst>
                <a:ext uri="{FF2B5EF4-FFF2-40B4-BE49-F238E27FC236}">
                  <a16:creationId xmlns:a16="http://schemas.microsoft.com/office/drawing/2014/main" xmlns="" id="{C6E30421-7FE6-44D0-B1FB-5EFED6C6C9E1}"/>
                </a:ext>
              </a:extLst>
            </p:cNvPr>
            <p:cNvSpPr/>
            <p:nvPr/>
          </p:nvSpPr>
          <p:spPr>
            <a:xfrm>
              <a:off x="10610671" y="1254276"/>
              <a:ext cx="386922" cy="38692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456" name="Freeform: Shape 455">
              <a:extLst>
                <a:ext uri="{FF2B5EF4-FFF2-40B4-BE49-F238E27FC236}">
                  <a16:creationId xmlns:a16="http://schemas.microsoft.com/office/drawing/2014/main" xmlns="" id="{B665D3AD-59FD-4E74-A2F5-21D7414289EB}"/>
                </a:ext>
              </a:extLst>
            </p:cNvPr>
            <p:cNvSpPr/>
            <p:nvPr/>
          </p:nvSpPr>
          <p:spPr>
            <a:xfrm>
              <a:off x="10725802" y="1365873"/>
              <a:ext cx="156660" cy="156006"/>
            </a:xfrm>
            <a:custGeom>
              <a:avLst/>
              <a:gdLst>
                <a:gd name="connsiteX0" fmla="*/ 227171 w 228600"/>
                <a:gd name="connsiteY0" fmla="*/ 177641 h 227647"/>
                <a:gd name="connsiteX1" fmla="*/ 164306 w 228600"/>
                <a:gd name="connsiteY1" fmla="*/ 114776 h 227647"/>
                <a:gd name="connsiteX2" fmla="*/ 227171 w 228600"/>
                <a:gd name="connsiteY2" fmla="*/ 50959 h 227647"/>
                <a:gd name="connsiteX3" fmla="*/ 227171 w 228600"/>
                <a:gd name="connsiteY3" fmla="*/ 44291 h 227647"/>
                <a:gd name="connsiteX4" fmla="*/ 184309 w 228600"/>
                <a:gd name="connsiteY4" fmla="*/ 1429 h 227647"/>
                <a:gd name="connsiteX5" fmla="*/ 177641 w 228600"/>
                <a:gd name="connsiteY5" fmla="*/ 1429 h 227647"/>
                <a:gd name="connsiteX6" fmla="*/ 113824 w 228600"/>
                <a:gd name="connsiteY6" fmla="*/ 64294 h 227647"/>
                <a:gd name="connsiteX7" fmla="*/ 50959 w 228600"/>
                <a:gd name="connsiteY7" fmla="*/ 1429 h 227647"/>
                <a:gd name="connsiteX8" fmla="*/ 44291 w 228600"/>
                <a:gd name="connsiteY8" fmla="*/ 1429 h 227647"/>
                <a:gd name="connsiteX9" fmla="*/ 1429 w 228600"/>
                <a:gd name="connsiteY9" fmla="*/ 44291 h 227647"/>
                <a:gd name="connsiteX10" fmla="*/ 1429 w 228600"/>
                <a:gd name="connsiteY10" fmla="*/ 50959 h 227647"/>
                <a:gd name="connsiteX11" fmla="*/ 64294 w 228600"/>
                <a:gd name="connsiteY11" fmla="*/ 113824 h 227647"/>
                <a:gd name="connsiteX12" fmla="*/ 1429 w 228600"/>
                <a:gd name="connsiteY12" fmla="*/ 176689 h 227647"/>
                <a:gd name="connsiteX13" fmla="*/ 1429 w 228600"/>
                <a:gd name="connsiteY13" fmla="*/ 183356 h 227647"/>
                <a:gd name="connsiteX14" fmla="*/ 44291 w 228600"/>
                <a:gd name="connsiteY14" fmla="*/ 226219 h 227647"/>
                <a:gd name="connsiteX15" fmla="*/ 44291 w 228600"/>
                <a:gd name="connsiteY15" fmla="*/ 226219 h 227647"/>
                <a:gd name="connsiteX16" fmla="*/ 50959 w 228600"/>
                <a:gd name="connsiteY16" fmla="*/ 226219 h 227647"/>
                <a:gd name="connsiteX17" fmla="*/ 113824 w 228600"/>
                <a:gd name="connsiteY17" fmla="*/ 163354 h 227647"/>
                <a:gd name="connsiteX18" fmla="*/ 176689 w 228600"/>
                <a:gd name="connsiteY18" fmla="*/ 226219 h 227647"/>
                <a:gd name="connsiteX19" fmla="*/ 183356 w 228600"/>
                <a:gd name="connsiteY19" fmla="*/ 226219 h 227647"/>
                <a:gd name="connsiteX20" fmla="*/ 226219 w 228600"/>
                <a:gd name="connsiteY20" fmla="*/ 183356 h 227647"/>
                <a:gd name="connsiteX21" fmla="*/ 226219 w 228600"/>
                <a:gd name="connsiteY21" fmla="*/ 183356 h 227647"/>
                <a:gd name="connsiteX22" fmla="*/ 227171 w 228600"/>
                <a:gd name="connsiteY22" fmla="*/ 177641 h 22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28600" h="227647">
                  <a:moveTo>
                    <a:pt x="227171" y="177641"/>
                  </a:moveTo>
                  <a:lnTo>
                    <a:pt x="164306" y="114776"/>
                  </a:lnTo>
                  <a:lnTo>
                    <a:pt x="227171" y="50959"/>
                  </a:lnTo>
                  <a:cubicBezTo>
                    <a:pt x="229076" y="49054"/>
                    <a:pt x="229076" y="46196"/>
                    <a:pt x="227171" y="44291"/>
                  </a:cubicBezTo>
                  <a:lnTo>
                    <a:pt x="184309" y="1429"/>
                  </a:lnTo>
                  <a:cubicBezTo>
                    <a:pt x="182404" y="-476"/>
                    <a:pt x="179546" y="-476"/>
                    <a:pt x="177641" y="1429"/>
                  </a:cubicBezTo>
                  <a:lnTo>
                    <a:pt x="113824" y="64294"/>
                  </a:lnTo>
                  <a:lnTo>
                    <a:pt x="50959" y="1429"/>
                  </a:lnTo>
                  <a:cubicBezTo>
                    <a:pt x="49054" y="-476"/>
                    <a:pt x="46196" y="-476"/>
                    <a:pt x="44291" y="1429"/>
                  </a:cubicBezTo>
                  <a:lnTo>
                    <a:pt x="1429" y="44291"/>
                  </a:lnTo>
                  <a:cubicBezTo>
                    <a:pt x="-476" y="46196"/>
                    <a:pt x="-476" y="49054"/>
                    <a:pt x="1429" y="50959"/>
                  </a:cubicBezTo>
                  <a:lnTo>
                    <a:pt x="64294" y="113824"/>
                  </a:lnTo>
                  <a:lnTo>
                    <a:pt x="1429" y="176689"/>
                  </a:lnTo>
                  <a:cubicBezTo>
                    <a:pt x="-476" y="178594"/>
                    <a:pt x="-476" y="181451"/>
                    <a:pt x="1429" y="183356"/>
                  </a:cubicBezTo>
                  <a:lnTo>
                    <a:pt x="44291" y="226219"/>
                  </a:lnTo>
                  <a:cubicBezTo>
                    <a:pt x="44291" y="226219"/>
                    <a:pt x="44291" y="226219"/>
                    <a:pt x="44291" y="226219"/>
                  </a:cubicBezTo>
                  <a:cubicBezTo>
                    <a:pt x="46196" y="228124"/>
                    <a:pt x="49054" y="228124"/>
                    <a:pt x="50959" y="226219"/>
                  </a:cubicBezTo>
                  <a:lnTo>
                    <a:pt x="113824" y="163354"/>
                  </a:lnTo>
                  <a:lnTo>
                    <a:pt x="176689" y="226219"/>
                  </a:lnTo>
                  <a:cubicBezTo>
                    <a:pt x="178594" y="228124"/>
                    <a:pt x="181451" y="228124"/>
                    <a:pt x="183356" y="226219"/>
                  </a:cubicBezTo>
                  <a:lnTo>
                    <a:pt x="226219" y="183356"/>
                  </a:lnTo>
                  <a:cubicBezTo>
                    <a:pt x="226219" y="183356"/>
                    <a:pt x="226219" y="183356"/>
                    <a:pt x="226219" y="183356"/>
                  </a:cubicBezTo>
                  <a:cubicBezTo>
                    <a:pt x="229076" y="182404"/>
                    <a:pt x="228124" y="179546"/>
                    <a:pt x="227171" y="177641"/>
                  </a:cubicBezTo>
                  <a:close/>
                </a:path>
              </a:pathLst>
            </a:custGeom>
            <a:solidFill>
              <a:srgbClr val="C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D"/>
            </a:p>
          </p:txBody>
        </p:sp>
      </p:grpSp>
    </p:spTree>
    <p:extLst>
      <p:ext uri="{BB962C8B-B14F-4D97-AF65-F5344CB8AC3E}">
        <p14:creationId xmlns:p14="http://schemas.microsoft.com/office/powerpoint/2010/main" val="231096175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Freeform: Shape 45">
            <a:extLst>
              <a:ext uri="{FF2B5EF4-FFF2-40B4-BE49-F238E27FC236}">
                <a16:creationId xmlns:a16="http://schemas.microsoft.com/office/drawing/2014/main" xmlns="" id="{A5FD1564-13BB-4041-9B1D-5D2AE6232068}"/>
              </a:ext>
            </a:extLst>
          </p:cNvPr>
          <p:cNvSpPr/>
          <p:nvPr/>
        </p:nvSpPr>
        <p:spPr>
          <a:xfrm>
            <a:off x="8002308" y="0"/>
            <a:ext cx="4189693" cy="5095875"/>
          </a:xfrm>
          <a:custGeom>
            <a:avLst/>
            <a:gdLst>
              <a:gd name="connsiteX0" fmla="*/ 0 w 4811527"/>
              <a:gd name="connsiteY0" fmla="*/ 0 h 5852204"/>
              <a:gd name="connsiteX1" fmla="*/ 4811527 w 4811527"/>
              <a:gd name="connsiteY1" fmla="*/ 0 h 5852204"/>
              <a:gd name="connsiteX2" fmla="*/ 4811527 w 4811527"/>
              <a:gd name="connsiteY2" fmla="*/ 5852204 h 5852204"/>
              <a:gd name="connsiteX3" fmla="*/ 4778620 w 4811527"/>
              <a:gd name="connsiteY3" fmla="*/ 5837798 h 5852204"/>
              <a:gd name="connsiteX4" fmla="*/ 4499261 w 4811527"/>
              <a:gd name="connsiteY4" fmla="*/ 5695216 h 5852204"/>
              <a:gd name="connsiteX5" fmla="*/ 4052478 w 4811527"/>
              <a:gd name="connsiteY5" fmla="*/ 4754018 h 5852204"/>
              <a:gd name="connsiteX6" fmla="*/ 2450223 w 4811527"/>
              <a:gd name="connsiteY6" fmla="*/ 3753996 h 5852204"/>
              <a:gd name="connsiteX7" fmla="*/ 2373192 w 4811527"/>
              <a:gd name="connsiteY7" fmla="*/ 2724560 h 5852204"/>
              <a:gd name="connsiteX8" fmla="*/ 308748 w 4811527"/>
              <a:gd name="connsiteY8" fmla="*/ 1180408 h 5852204"/>
              <a:gd name="connsiteX9" fmla="*/ 744 w 4811527"/>
              <a:gd name="connsiteY9" fmla="*/ 140475 h 58522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811527" h="5852204">
                <a:moveTo>
                  <a:pt x="0" y="0"/>
                </a:moveTo>
                <a:lnTo>
                  <a:pt x="4811527" y="0"/>
                </a:lnTo>
                <a:lnTo>
                  <a:pt x="4811527" y="5852204"/>
                </a:lnTo>
                <a:lnTo>
                  <a:pt x="4778620" y="5837798"/>
                </a:lnTo>
                <a:cubicBezTo>
                  <a:pt x="4665039" y="5786058"/>
                  <a:pt x="4569873" y="5738110"/>
                  <a:pt x="4499261" y="5695216"/>
                </a:cubicBezTo>
                <a:cubicBezTo>
                  <a:pt x="4152619" y="5425603"/>
                  <a:pt x="4393985" y="5077555"/>
                  <a:pt x="4052478" y="4754018"/>
                </a:cubicBezTo>
                <a:cubicBezTo>
                  <a:pt x="3710971" y="4430482"/>
                  <a:pt x="2730105" y="4092239"/>
                  <a:pt x="2450223" y="3753996"/>
                </a:cubicBezTo>
                <a:cubicBezTo>
                  <a:pt x="2170342" y="3415753"/>
                  <a:pt x="2730105" y="3153492"/>
                  <a:pt x="2373192" y="2724560"/>
                </a:cubicBezTo>
                <a:cubicBezTo>
                  <a:pt x="2016279" y="2295629"/>
                  <a:pt x="704177" y="1687772"/>
                  <a:pt x="308748" y="1180408"/>
                </a:cubicBezTo>
                <a:cubicBezTo>
                  <a:pt x="61606" y="863305"/>
                  <a:pt x="9156" y="462637"/>
                  <a:pt x="744" y="140475"/>
                </a:cubicBezTo>
                <a:close/>
              </a:path>
            </a:pathLst>
          </a:custGeom>
          <a:solidFill>
            <a:srgbClr val="D3E3FF">
              <a:alpha val="30000"/>
            </a:srgbClr>
          </a:solidFill>
          <a:ln w="28107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>
              <a:solidFill>
                <a:schemeClr val="tx1"/>
              </a:solidFill>
            </a:endParaRPr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0013EE6F-CF81-4D38-A75E-EFC145EB0C9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think-cell Slide" r:id="rId5" imgW="381" imgH="381" progId="TCLayout.ActiveDocument.1">
                  <p:embed/>
                </p:oleObj>
              </mc:Choice>
              <mc:Fallback>
                <p:oleObj name="think-cell Slide" r:id="rId5" imgW="381" imgH="38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B9688D1B-E929-4707-B62B-3E084A328F07}"/>
              </a:ext>
            </a:extLst>
          </p:cNvPr>
          <p:cNvSpPr txBox="1"/>
          <p:nvPr/>
        </p:nvSpPr>
        <p:spPr>
          <a:xfrm>
            <a:off x="828399" y="602147"/>
            <a:ext cx="5267601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o-RO" sz="4000" dirty="0" smtClean="0">
                <a:latin typeface="Arial Black" panose="020B0A04020102020204" pitchFamily="34" charset="0"/>
              </a:rPr>
              <a:t>TEHNOLOGIILE UTILIZATE</a:t>
            </a:r>
            <a:endParaRPr kumimoji="0" lang="en-US" sz="40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xmlns="" id="{71E22C01-0F0F-4A46-92A8-FDC65899DC46}"/>
              </a:ext>
            </a:extLst>
          </p:cNvPr>
          <p:cNvGrpSpPr/>
          <p:nvPr/>
        </p:nvGrpSpPr>
        <p:grpSpPr>
          <a:xfrm>
            <a:off x="-9" y="3428999"/>
            <a:ext cx="3610866" cy="3429000"/>
            <a:chOff x="-9" y="3428999"/>
            <a:chExt cx="3610866" cy="3429000"/>
          </a:xfrm>
        </p:grpSpPr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xmlns="" id="{DEA54A7F-1E93-40C7-8906-12D46B876B73}"/>
                </a:ext>
              </a:extLst>
            </p:cNvPr>
            <p:cNvSpPr/>
            <p:nvPr/>
          </p:nvSpPr>
          <p:spPr>
            <a:xfrm rot="10800000">
              <a:off x="-8" y="3428999"/>
              <a:ext cx="3610865" cy="3428999"/>
            </a:xfrm>
            <a:custGeom>
              <a:avLst/>
              <a:gdLst>
                <a:gd name="connsiteX0" fmla="*/ 1751425 w 1751425"/>
                <a:gd name="connsiteY0" fmla="*/ 1902955 h 1902955"/>
                <a:gd name="connsiteX1" fmla="*/ 1698903 w 1751425"/>
                <a:gd name="connsiteY1" fmla="*/ 1861505 h 1902955"/>
                <a:gd name="connsiteX2" fmla="*/ 1379946 w 1751425"/>
                <a:gd name="connsiteY2" fmla="*/ 1543050 h 1902955"/>
                <a:gd name="connsiteX3" fmla="*/ 1037046 w 1751425"/>
                <a:gd name="connsiteY3" fmla="*/ 590550 h 1902955"/>
                <a:gd name="connsiteX4" fmla="*/ 294096 w 1751425"/>
                <a:gd name="connsiteY4" fmla="*/ 219075 h 1902955"/>
                <a:gd name="connsiteX5" fmla="*/ 12513 w 1751425"/>
                <a:gd name="connsiteY5" fmla="*/ 11907 h 1902955"/>
                <a:gd name="connsiteX6" fmla="*/ 0 w 1751425"/>
                <a:gd name="connsiteY6" fmla="*/ 0 h 1902955"/>
                <a:gd name="connsiteX7" fmla="*/ 1751425 w 1751425"/>
                <a:gd name="connsiteY7" fmla="*/ 0 h 1902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51425" h="1902955">
                  <a:moveTo>
                    <a:pt x="1751425" y="1902955"/>
                  </a:moveTo>
                  <a:lnTo>
                    <a:pt x="1698903" y="1861505"/>
                  </a:lnTo>
                  <a:cubicBezTo>
                    <a:pt x="1572827" y="1757809"/>
                    <a:pt x="1454955" y="1646634"/>
                    <a:pt x="1379946" y="1543050"/>
                  </a:cubicBezTo>
                  <a:cubicBezTo>
                    <a:pt x="1179921" y="1266825"/>
                    <a:pt x="1218021" y="811213"/>
                    <a:pt x="1037046" y="590550"/>
                  </a:cubicBezTo>
                  <a:cubicBezTo>
                    <a:pt x="856071" y="369887"/>
                    <a:pt x="481421" y="342900"/>
                    <a:pt x="294096" y="219075"/>
                  </a:cubicBezTo>
                  <a:cubicBezTo>
                    <a:pt x="200434" y="157163"/>
                    <a:pt x="91293" y="80963"/>
                    <a:pt x="12513" y="11907"/>
                  </a:cubicBezTo>
                  <a:lnTo>
                    <a:pt x="0" y="0"/>
                  </a:lnTo>
                  <a:lnTo>
                    <a:pt x="1751425" y="0"/>
                  </a:lnTo>
                  <a:close/>
                </a:path>
              </a:pathLst>
            </a:custGeom>
            <a:solidFill>
              <a:srgbClr val="D3E3FF">
                <a:alpha val="30000"/>
              </a:srgbClr>
            </a:solidFill>
            <a:ln w="28107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ID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xmlns="" id="{C469E7DD-4D45-473B-AEE2-2F67CF743703}"/>
                </a:ext>
              </a:extLst>
            </p:cNvPr>
            <p:cNvSpPr/>
            <p:nvPr/>
          </p:nvSpPr>
          <p:spPr>
            <a:xfrm rot="10800000">
              <a:off x="-9" y="5182392"/>
              <a:ext cx="1816708" cy="1675607"/>
            </a:xfrm>
            <a:custGeom>
              <a:avLst/>
              <a:gdLst>
                <a:gd name="connsiteX0" fmla="*/ 2140219 w 2140219"/>
                <a:gd name="connsiteY0" fmla="*/ 1633472 h 1633472"/>
                <a:gd name="connsiteX1" fmla="*/ 2046756 w 2140219"/>
                <a:gd name="connsiteY1" fmla="*/ 1568014 h 1633472"/>
                <a:gd name="connsiteX2" fmla="*/ 1740161 w 2140219"/>
                <a:gd name="connsiteY2" fmla="*/ 1304923 h 1633472"/>
                <a:gd name="connsiteX3" fmla="*/ 1330586 w 2140219"/>
                <a:gd name="connsiteY3" fmla="*/ 523873 h 1633472"/>
                <a:gd name="connsiteX4" fmla="*/ 797186 w 2140219"/>
                <a:gd name="connsiteY4" fmla="*/ 333373 h 1633472"/>
                <a:gd name="connsiteX5" fmla="*/ 511436 w 2140219"/>
                <a:gd name="connsiteY5" fmla="*/ 142873 h 1633472"/>
                <a:gd name="connsiteX6" fmla="*/ 37698 w 2140219"/>
                <a:gd name="connsiteY6" fmla="*/ 9904 h 1633472"/>
                <a:gd name="connsiteX7" fmla="*/ 0 w 2140219"/>
                <a:gd name="connsiteY7" fmla="*/ 0 h 1633472"/>
                <a:gd name="connsiteX8" fmla="*/ 2140219 w 2140219"/>
                <a:gd name="connsiteY8" fmla="*/ 0 h 16334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40219" h="1633472">
                  <a:moveTo>
                    <a:pt x="2140219" y="1633472"/>
                  </a:moveTo>
                  <a:lnTo>
                    <a:pt x="2046756" y="1568014"/>
                  </a:lnTo>
                  <a:cubicBezTo>
                    <a:pt x="1928428" y="1482103"/>
                    <a:pt x="1815765" y="1390053"/>
                    <a:pt x="1740161" y="1304923"/>
                  </a:cubicBezTo>
                  <a:cubicBezTo>
                    <a:pt x="1538549" y="1077911"/>
                    <a:pt x="1487748" y="685798"/>
                    <a:pt x="1330586" y="523873"/>
                  </a:cubicBezTo>
                  <a:cubicBezTo>
                    <a:pt x="1173423" y="361948"/>
                    <a:pt x="933711" y="396873"/>
                    <a:pt x="797186" y="333373"/>
                  </a:cubicBezTo>
                  <a:cubicBezTo>
                    <a:pt x="660661" y="269873"/>
                    <a:pt x="676536" y="207960"/>
                    <a:pt x="511436" y="142873"/>
                  </a:cubicBezTo>
                  <a:cubicBezTo>
                    <a:pt x="408249" y="102193"/>
                    <a:pt x="204602" y="52832"/>
                    <a:pt x="37698" y="9904"/>
                  </a:cubicBezTo>
                  <a:lnTo>
                    <a:pt x="0" y="0"/>
                  </a:lnTo>
                  <a:lnTo>
                    <a:pt x="2140219" y="0"/>
                  </a:lnTo>
                  <a:close/>
                </a:path>
              </a:pathLst>
            </a:custGeom>
            <a:solidFill>
              <a:srgbClr val="4399FF"/>
            </a:solidFill>
            <a:ln w="28107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ID"/>
            </a:p>
          </p:txBody>
        </p:sp>
      </p:grpSp>
      <p:grpSp>
        <p:nvGrpSpPr>
          <p:cNvPr id="236" name="Group 235">
            <a:extLst>
              <a:ext uri="{FF2B5EF4-FFF2-40B4-BE49-F238E27FC236}">
                <a16:creationId xmlns:a16="http://schemas.microsoft.com/office/drawing/2014/main" xmlns="" id="{0D105FB4-B9BB-424B-BB0F-BC4F03732A93}"/>
              </a:ext>
            </a:extLst>
          </p:cNvPr>
          <p:cNvGrpSpPr/>
          <p:nvPr/>
        </p:nvGrpSpPr>
        <p:grpSpPr>
          <a:xfrm>
            <a:off x="9413230" y="0"/>
            <a:ext cx="2778770" cy="3248025"/>
            <a:chOff x="8944746" y="0"/>
            <a:chExt cx="3247254" cy="3795623"/>
          </a:xfrm>
          <a:solidFill>
            <a:srgbClr val="FFD966"/>
          </a:solidFill>
        </p:grpSpPr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xmlns="" id="{6FB6270F-379A-4558-9FD9-CEE239F9A0EC}"/>
                </a:ext>
              </a:extLst>
            </p:cNvPr>
            <p:cNvSpPr/>
            <p:nvPr/>
          </p:nvSpPr>
          <p:spPr>
            <a:xfrm rot="10800000">
              <a:off x="8944746" y="0"/>
              <a:ext cx="3247254" cy="3795623"/>
            </a:xfrm>
            <a:custGeom>
              <a:avLst/>
              <a:gdLst>
                <a:gd name="connsiteX0" fmla="*/ 4466444 w 4466444"/>
                <a:gd name="connsiteY0" fmla="*/ 5220700 h 5220700"/>
                <a:gd name="connsiteX1" fmla="*/ 0 w 4466444"/>
                <a:gd name="connsiteY1" fmla="*/ 5220700 h 5220700"/>
                <a:gd name="connsiteX2" fmla="*/ 0 w 4466444"/>
                <a:gd name="connsiteY2" fmla="*/ 0 h 5220700"/>
                <a:gd name="connsiteX3" fmla="*/ 64843 w 4466444"/>
                <a:gd name="connsiteY3" fmla="*/ 140843 h 5220700"/>
                <a:gd name="connsiteX4" fmla="*/ 285129 w 4466444"/>
                <a:gd name="connsiteY4" fmla="*/ 882580 h 5220700"/>
                <a:gd name="connsiteX5" fmla="*/ 3035424 w 4466444"/>
                <a:gd name="connsiteY5" fmla="*/ 3312353 h 5220700"/>
                <a:gd name="connsiteX6" fmla="*/ 4466011 w 4466444"/>
                <a:gd name="connsiteY6" fmla="*/ 5207305 h 5220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466444" h="5220700">
                  <a:moveTo>
                    <a:pt x="4466444" y="5220700"/>
                  </a:moveTo>
                  <a:lnTo>
                    <a:pt x="0" y="5220700"/>
                  </a:lnTo>
                  <a:lnTo>
                    <a:pt x="0" y="0"/>
                  </a:lnTo>
                  <a:lnTo>
                    <a:pt x="64843" y="140843"/>
                  </a:lnTo>
                  <a:cubicBezTo>
                    <a:pt x="155765" y="360720"/>
                    <a:pt x="228262" y="607292"/>
                    <a:pt x="285129" y="882580"/>
                  </a:cubicBezTo>
                  <a:cubicBezTo>
                    <a:pt x="605652" y="2433498"/>
                    <a:pt x="1815368" y="2857416"/>
                    <a:pt x="3035424" y="3312353"/>
                  </a:cubicBezTo>
                  <a:cubicBezTo>
                    <a:pt x="3995056" y="3671002"/>
                    <a:pt x="4409441" y="4217459"/>
                    <a:pt x="4466011" y="5207305"/>
                  </a:cubicBezTo>
                  <a:close/>
                </a:path>
              </a:pathLst>
            </a:custGeom>
            <a:grpFill/>
            <a:ln w="281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D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xmlns="" id="{AAEC1B49-67E8-4383-ADAB-EA0B9B1CFEA6}"/>
                </a:ext>
              </a:extLst>
            </p:cNvPr>
            <p:cNvSpPr/>
            <p:nvPr/>
          </p:nvSpPr>
          <p:spPr>
            <a:xfrm rot="10800000">
              <a:off x="10153969" y="1"/>
              <a:ext cx="2038031" cy="1767211"/>
            </a:xfrm>
            <a:custGeom>
              <a:avLst/>
              <a:gdLst>
                <a:gd name="connsiteX0" fmla="*/ 2038031 w 2038031"/>
                <a:gd name="connsiteY0" fmla="*/ 1767211 h 1767211"/>
                <a:gd name="connsiteX1" fmla="*/ 0 w 2038031"/>
                <a:gd name="connsiteY1" fmla="*/ 1767211 h 1767211"/>
                <a:gd name="connsiteX2" fmla="*/ 0 w 2038031"/>
                <a:gd name="connsiteY2" fmla="*/ 0 h 1767211"/>
                <a:gd name="connsiteX3" fmla="*/ 188516 w 2038031"/>
                <a:gd name="connsiteY3" fmla="*/ 109564 h 1767211"/>
                <a:gd name="connsiteX4" fmla="*/ 495300 w 2038031"/>
                <a:gd name="connsiteY4" fmla="*/ 306711 h 1767211"/>
                <a:gd name="connsiteX5" fmla="*/ 1016000 w 2038031"/>
                <a:gd name="connsiteY5" fmla="*/ 992511 h 1767211"/>
                <a:gd name="connsiteX6" fmla="*/ 1701800 w 2038031"/>
                <a:gd name="connsiteY6" fmla="*/ 1221111 h 1767211"/>
                <a:gd name="connsiteX7" fmla="*/ 2006153 w 2038031"/>
                <a:gd name="connsiteY7" fmla="*/ 1698291 h 1767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38031" h="1767211">
                  <a:moveTo>
                    <a:pt x="2038031" y="1767211"/>
                  </a:moveTo>
                  <a:lnTo>
                    <a:pt x="0" y="1767211"/>
                  </a:lnTo>
                  <a:lnTo>
                    <a:pt x="0" y="0"/>
                  </a:lnTo>
                  <a:lnTo>
                    <a:pt x="188516" y="109564"/>
                  </a:lnTo>
                  <a:cubicBezTo>
                    <a:pt x="309033" y="182225"/>
                    <a:pt x="415925" y="251678"/>
                    <a:pt x="495300" y="306711"/>
                  </a:cubicBezTo>
                  <a:cubicBezTo>
                    <a:pt x="812800" y="526844"/>
                    <a:pt x="814917" y="840111"/>
                    <a:pt x="1016000" y="992511"/>
                  </a:cubicBezTo>
                  <a:cubicBezTo>
                    <a:pt x="1217083" y="1144911"/>
                    <a:pt x="1517650" y="1062361"/>
                    <a:pt x="1701800" y="1221111"/>
                  </a:cubicBezTo>
                  <a:cubicBezTo>
                    <a:pt x="1816894" y="1320330"/>
                    <a:pt x="1924546" y="1525382"/>
                    <a:pt x="2006153" y="1698291"/>
                  </a:cubicBezTo>
                  <a:close/>
                </a:path>
              </a:pathLst>
            </a:custGeom>
            <a:grpFill/>
            <a:ln w="28107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ID"/>
            </a:p>
          </p:txBody>
        </p:sp>
      </p:grpSp>
      <p:sp>
        <p:nvSpPr>
          <p:cNvPr id="148" name="TextBox 147">
            <a:extLst>
              <a:ext uri="{FF2B5EF4-FFF2-40B4-BE49-F238E27FC236}">
                <a16:creationId xmlns:a16="http://schemas.microsoft.com/office/drawing/2014/main" xmlns="" id="{8DA524C8-162C-4F1B-A10F-BC893DDA152A}"/>
              </a:ext>
            </a:extLst>
          </p:cNvPr>
          <p:cNvSpPr txBox="1"/>
          <p:nvPr/>
        </p:nvSpPr>
        <p:spPr>
          <a:xfrm>
            <a:off x="828399" y="2062585"/>
            <a:ext cx="1603249" cy="984885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o-RO" sz="160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QL SERVER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o-RO" sz="160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&amp;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o-RO" sz="160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ENTITY</a:t>
            </a:r>
            <a:r>
              <a:rPr kumimoji="0" lang="ro-RO" sz="1600" i="0" u="none" strike="noStrike" kern="1200" cap="none" spc="0" normalizeH="0" noProof="0" dirty="0" smtClean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FRAMEWORK</a:t>
            </a:r>
            <a:endParaRPr kumimoji="0" lang="en-US" sz="16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49" name="TextBox 148">
            <a:extLst>
              <a:ext uri="{FF2B5EF4-FFF2-40B4-BE49-F238E27FC236}">
                <a16:creationId xmlns:a16="http://schemas.microsoft.com/office/drawing/2014/main" xmlns="" id="{812F1A61-FF75-4E50-A4B5-6874D51E8F32}"/>
              </a:ext>
            </a:extLst>
          </p:cNvPr>
          <p:cNvSpPr txBox="1"/>
          <p:nvPr/>
        </p:nvSpPr>
        <p:spPr>
          <a:xfrm>
            <a:off x="3010513" y="2416527"/>
            <a:ext cx="1603249" cy="2769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o-RO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REACT JS</a:t>
            </a:r>
            <a:endParaRPr kumimoji="0" lang="en-US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51" name="TextBox 150">
            <a:extLst>
              <a:ext uri="{FF2B5EF4-FFF2-40B4-BE49-F238E27FC236}">
                <a16:creationId xmlns:a16="http://schemas.microsoft.com/office/drawing/2014/main" xmlns="" id="{6A5F6D4C-9D87-45C5-BC31-DF483E10BF4E}"/>
              </a:ext>
            </a:extLst>
          </p:cNvPr>
          <p:cNvSpPr txBox="1"/>
          <p:nvPr/>
        </p:nvSpPr>
        <p:spPr>
          <a:xfrm>
            <a:off x="7534370" y="2385749"/>
            <a:ext cx="1603249" cy="2769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o-RO" dirty="0" smtClean="0"/>
              <a:t>MATERIAL UI</a:t>
            </a:r>
            <a:endParaRPr kumimoji="0" lang="en-US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52" name="TextBox 151">
            <a:extLst>
              <a:ext uri="{FF2B5EF4-FFF2-40B4-BE49-F238E27FC236}">
                <a16:creationId xmlns:a16="http://schemas.microsoft.com/office/drawing/2014/main" xmlns="" id="{673B40A8-FBC8-4184-ADCC-B6187CD50FC0}"/>
              </a:ext>
            </a:extLst>
          </p:cNvPr>
          <p:cNvSpPr txBox="1"/>
          <p:nvPr/>
        </p:nvSpPr>
        <p:spPr>
          <a:xfrm>
            <a:off x="9746916" y="2108162"/>
            <a:ext cx="1603249" cy="83099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o-RO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AXIOS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o-RO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&amp;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o-RO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FORMIK</a:t>
            </a:r>
            <a:endParaRPr kumimoji="0" lang="en-US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</p:txBody>
      </p:sp>
      <p:grpSp>
        <p:nvGrpSpPr>
          <p:cNvPr id="154" name="Group 153">
            <a:extLst>
              <a:ext uri="{FF2B5EF4-FFF2-40B4-BE49-F238E27FC236}">
                <a16:creationId xmlns:a16="http://schemas.microsoft.com/office/drawing/2014/main" xmlns="" id="{DE0DCED0-4DF0-42AE-AA7D-7ED1BEC5D3E6}"/>
              </a:ext>
            </a:extLst>
          </p:cNvPr>
          <p:cNvGrpSpPr/>
          <p:nvPr/>
        </p:nvGrpSpPr>
        <p:grpSpPr>
          <a:xfrm>
            <a:off x="828398" y="5881695"/>
            <a:ext cx="10491600" cy="282477"/>
            <a:chOff x="828398" y="2590815"/>
            <a:chExt cx="10491600" cy="282477"/>
          </a:xfrm>
        </p:grpSpPr>
        <p:sp>
          <p:nvSpPr>
            <p:cNvPr id="155" name="TextBox 154">
              <a:extLst>
                <a:ext uri="{FF2B5EF4-FFF2-40B4-BE49-F238E27FC236}">
                  <a16:creationId xmlns:a16="http://schemas.microsoft.com/office/drawing/2014/main" xmlns="" id="{EE544A22-B34A-461C-8BE3-3BCF54FE32F7}"/>
                </a:ext>
              </a:extLst>
            </p:cNvPr>
            <p:cNvSpPr txBox="1"/>
            <p:nvPr/>
          </p:nvSpPr>
          <p:spPr>
            <a:xfrm>
              <a:off x="828398" y="2590815"/>
              <a:ext cx="1603249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o-RO" i="0" u="none" strike="noStrike" kern="120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.NET WEB API</a:t>
              </a:r>
              <a:endParaRPr kumimoji="0" lang="en-US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56" name="TextBox 155">
              <a:extLst>
                <a:ext uri="{FF2B5EF4-FFF2-40B4-BE49-F238E27FC236}">
                  <a16:creationId xmlns:a16="http://schemas.microsoft.com/office/drawing/2014/main" xmlns="" id="{924251F7-CE18-485D-A286-4F407D872D58}"/>
                </a:ext>
              </a:extLst>
            </p:cNvPr>
            <p:cNvSpPr txBox="1"/>
            <p:nvPr/>
          </p:nvSpPr>
          <p:spPr>
            <a:xfrm>
              <a:off x="9716749" y="2596293"/>
              <a:ext cx="1603249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o-RO" i="0" u="none" strike="noStrike" kern="120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JWT AUTH</a:t>
              </a:r>
              <a:endParaRPr kumimoji="0" lang="en-US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57" name="TextBox 156">
              <a:extLst>
                <a:ext uri="{FF2B5EF4-FFF2-40B4-BE49-F238E27FC236}">
                  <a16:creationId xmlns:a16="http://schemas.microsoft.com/office/drawing/2014/main" xmlns="" id="{90AE4E1E-7BCD-4B8D-9C4C-D8AEA2BF5F05}"/>
                </a:ext>
              </a:extLst>
            </p:cNvPr>
            <p:cNvSpPr txBox="1"/>
            <p:nvPr/>
          </p:nvSpPr>
          <p:spPr>
            <a:xfrm>
              <a:off x="9390925" y="2627071"/>
              <a:ext cx="1603249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sp>
        <p:nvSpPr>
          <p:cNvPr id="43" name="Rectangle: Rounded Corners 42">
            <a:extLst>
              <a:ext uri="{FF2B5EF4-FFF2-40B4-BE49-F238E27FC236}">
                <a16:creationId xmlns:a16="http://schemas.microsoft.com/office/drawing/2014/main" xmlns="" id="{94320D41-D36E-4874-8A28-11FB6F0BBF9C}"/>
              </a:ext>
            </a:extLst>
          </p:cNvPr>
          <p:cNvSpPr/>
          <p:nvPr/>
        </p:nvSpPr>
        <p:spPr>
          <a:xfrm>
            <a:off x="828399" y="3584906"/>
            <a:ext cx="10535202" cy="1441580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5" name="Picture 44">
            <a:extLst>
              <a:ext uri="{FF2B5EF4-FFF2-40B4-BE49-F238E27FC236}">
                <a16:creationId xmlns:a16="http://schemas.microsoft.com/office/drawing/2014/main" xmlns="" id="{B8C8C35A-2801-4A02-9C81-35509E70356E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b="39822"/>
          <a:stretch/>
        </p:blipFill>
        <p:spPr>
          <a:xfrm>
            <a:off x="4428471" y="1610339"/>
            <a:ext cx="4086415" cy="3416147"/>
          </a:xfrm>
          <a:prstGeom prst="rect">
            <a:avLst/>
          </a:prstGeom>
        </p:spPr>
      </p:pic>
      <p:pic>
        <p:nvPicPr>
          <p:cNvPr id="141" name="Graphic 140">
            <a:extLst>
              <a:ext uri="{FF2B5EF4-FFF2-40B4-BE49-F238E27FC236}">
                <a16:creationId xmlns:a16="http://schemas.microsoft.com/office/drawing/2014/main" xmlns="" id="{84373E6F-8E32-4118-B52B-92939287AB20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96DAC541-7B7A-43D3-8B79-37D633B846F1}">
                <asvg:svgBlip xmlns:asvg="http://schemas.microsoft.com/office/drawing/2016/SVG/main" xmlns="" r:embed="rId9"/>
              </a:ext>
            </a:extLst>
          </a:blip>
          <a:srcRect b="22586"/>
          <a:stretch/>
        </p:blipFill>
        <p:spPr>
          <a:xfrm>
            <a:off x="3976018" y="3443440"/>
            <a:ext cx="1425912" cy="1583046"/>
          </a:xfrm>
          <a:prstGeom prst="rect">
            <a:avLst/>
          </a:prstGeom>
        </p:spPr>
      </p:pic>
      <p:grpSp>
        <p:nvGrpSpPr>
          <p:cNvPr id="161" name="Group 160">
            <a:extLst>
              <a:ext uri="{FF2B5EF4-FFF2-40B4-BE49-F238E27FC236}">
                <a16:creationId xmlns:a16="http://schemas.microsoft.com/office/drawing/2014/main" xmlns="" id="{29F62CAA-8C99-492C-890D-9282BDEA973E}"/>
              </a:ext>
            </a:extLst>
          </p:cNvPr>
          <p:cNvGrpSpPr/>
          <p:nvPr/>
        </p:nvGrpSpPr>
        <p:grpSpPr>
          <a:xfrm>
            <a:off x="1372848" y="3322379"/>
            <a:ext cx="514350" cy="1958276"/>
            <a:chOff x="1372848" y="3181788"/>
            <a:chExt cx="514350" cy="1958276"/>
          </a:xfrm>
        </p:grpSpPr>
        <p:sp>
          <p:nvSpPr>
            <p:cNvPr id="143" name="Teardrop 142">
              <a:extLst>
                <a:ext uri="{FF2B5EF4-FFF2-40B4-BE49-F238E27FC236}">
                  <a16:creationId xmlns:a16="http://schemas.microsoft.com/office/drawing/2014/main" xmlns="" id="{661F7916-2079-4944-8561-C80BC58A0EEF}"/>
                </a:ext>
              </a:extLst>
            </p:cNvPr>
            <p:cNvSpPr/>
            <p:nvPr/>
          </p:nvSpPr>
          <p:spPr>
            <a:xfrm rot="18900000">
              <a:off x="1372848" y="3181788"/>
              <a:ext cx="514350" cy="514350"/>
            </a:xfrm>
            <a:prstGeom prst="teardrop">
              <a:avLst/>
            </a:prstGeom>
            <a:solidFill>
              <a:srgbClr val="27C18F"/>
            </a:solidFill>
            <a:ln w="33311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ID"/>
            </a:p>
          </p:txBody>
        </p:sp>
        <p:sp>
          <p:nvSpPr>
            <p:cNvPr id="144" name="Teardrop 143">
              <a:extLst>
                <a:ext uri="{FF2B5EF4-FFF2-40B4-BE49-F238E27FC236}">
                  <a16:creationId xmlns:a16="http://schemas.microsoft.com/office/drawing/2014/main" xmlns="" id="{D8CFAE6B-385B-4258-93A6-671BA620B5B4}"/>
                </a:ext>
              </a:extLst>
            </p:cNvPr>
            <p:cNvSpPr/>
            <p:nvPr/>
          </p:nvSpPr>
          <p:spPr>
            <a:xfrm rot="8100000">
              <a:off x="1372848" y="4625714"/>
              <a:ext cx="514350" cy="514350"/>
            </a:xfrm>
            <a:prstGeom prst="teardrop">
              <a:avLst/>
            </a:prstGeom>
            <a:solidFill>
              <a:srgbClr val="0070C0"/>
            </a:solidFill>
            <a:ln w="33311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ID"/>
            </a:p>
          </p:txBody>
        </p:sp>
      </p:grpSp>
      <p:sp>
        <p:nvSpPr>
          <p:cNvPr id="163" name="Teardrop 162">
            <a:extLst>
              <a:ext uri="{FF2B5EF4-FFF2-40B4-BE49-F238E27FC236}">
                <a16:creationId xmlns:a16="http://schemas.microsoft.com/office/drawing/2014/main" xmlns="" id="{64450C51-AF54-40BF-8F55-C844CCBF9F9B}"/>
              </a:ext>
            </a:extLst>
          </p:cNvPr>
          <p:cNvSpPr/>
          <p:nvPr/>
        </p:nvSpPr>
        <p:spPr>
          <a:xfrm rot="18900000">
            <a:off x="3604405" y="3322379"/>
            <a:ext cx="514350" cy="514350"/>
          </a:xfrm>
          <a:prstGeom prst="teardrop">
            <a:avLst/>
          </a:prstGeom>
          <a:solidFill>
            <a:srgbClr val="FFD966"/>
          </a:solidFill>
          <a:ln w="33311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ID"/>
          </a:p>
        </p:txBody>
      </p:sp>
      <p:sp>
        <p:nvSpPr>
          <p:cNvPr id="169" name="Teardrop 168">
            <a:extLst>
              <a:ext uri="{FF2B5EF4-FFF2-40B4-BE49-F238E27FC236}">
                <a16:creationId xmlns:a16="http://schemas.microsoft.com/office/drawing/2014/main" xmlns="" id="{6B551356-3C57-46EA-A27E-3FB521F1B364}"/>
              </a:ext>
            </a:extLst>
          </p:cNvPr>
          <p:cNvSpPr/>
          <p:nvPr/>
        </p:nvSpPr>
        <p:spPr>
          <a:xfrm rot="18900000">
            <a:off x="8067519" y="3322379"/>
            <a:ext cx="514350" cy="514350"/>
          </a:xfrm>
          <a:prstGeom prst="teardrop">
            <a:avLst/>
          </a:prstGeom>
          <a:solidFill>
            <a:srgbClr val="27C18F"/>
          </a:solidFill>
          <a:ln w="33311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ID"/>
          </a:p>
        </p:txBody>
      </p:sp>
      <p:grpSp>
        <p:nvGrpSpPr>
          <p:cNvPr id="171" name="Group 170">
            <a:extLst>
              <a:ext uri="{FF2B5EF4-FFF2-40B4-BE49-F238E27FC236}">
                <a16:creationId xmlns:a16="http://schemas.microsoft.com/office/drawing/2014/main" xmlns="" id="{733DBB81-9DF8-48E1-8195-4CABBCC20BC3}"/>
              </a:ext>
            </a:extLst>
          </p:cNvPr>
          <p:cNvGrpSpPr/>
          <p:nvPr/>
        </p:nvGrpSpPr>
        <p:grpSpPr>
          <a:xfrm>
            <a:off x="10299076" y="3322379"/>
            <a:ext cx="514350" cy="1958276"/>
            <a:chOff x="1372848" y="3181788"/>
            <a:chExt cx="514350" cy="1958276"/>
          </a:xfrm>
        </p:grpSpPr>
        <p:sp>
          <p:nvSpPr>
            <p:cNvPr id="172" name="Teardrop 171">
              <a:extLst>
                <a:ext uri="{FF2B5EF4-FFF2-40B4-BE49-F238E27FC236}">
                  <a16:creationId xmlns:a16="http://schemas.microsoft.com/office/drawing/2014/main" xmlns="" id="{002ABDD1-3494-470A-A451-FACAB1D89314}"/>
                </a:ext>
              </a:extLst>
            </p:cNvPr>
            <p:cNvSpPr/>
            <p:nvPr/>
          </p:nvSpPr>
          <p:spPr>
            <a:xfrm rot="18900000">
              <a:off x="1372848" y="3181788"/>
              <a:ext cx="514350" cy="514350"/>
            </a:xfrm>
            <a:prstGeom prst="teardrop">
              <a:avLst/>
            </a:prstGeom>
            <a:solidFill>
              <a:srgbClr val="FFD966"/>
            </a:solidFill>
            <a:ln w="33311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ID"/>
            </a:p>
          </p:txBody>
        </p:sp>
        <p:sp>
          <p:nvSpPr>
            <p:cNvPr id="173" name="Teardrop 172">
              <a:extLst>
                <a:ext uri="{FF2B5EF4-FFF2-40B4-BE49-F238E27FC236}">
                  <a16:creationId xmlns:a16="http://schemas.microsoft.com/office/drawing/2014/main" xmlns="" id="{4A12C40B-CE78-4C55-81FD-1A45A13544E2}"/>
                </a:ext>
              </a:extLst>
            </p:cNvPr>
            <p:cNvSpPr/>
            <p:nvPr/>
          </p:nvSpPr>
          <p:spPr>
            <a:xfrm rot="8100000">
              <a:off x="1372848" y="4625714"/>
              <a:ext cx="514350" cy="514350"/>
            </a:xfrm>
            <a:prstGeom prst="teardrop">
              <a:avLst/>
            </a:prstGeom>
            <a:solidFill>
              <a:srgbClr val="0070C0"/>
            </a:solidFill>
            <a:ln w="33311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ID"/>
            </a:p>
          </p:txBody>
        </p:sp>
      </p:grpSp>
      <p:pic>
        <p:nvPicPr>
          <p:cNvPr id="174" name="Graphic 173">
            <a:extLst>
              <a:ext uri="{FF2B5EF4-FFF2-40B4-BE49-F238E27FC236}">
                <a16:creationId xmlns:a16="http://schemas.microsoft.com/office/drawing/2014/main" xmlns="" id="{D5C265C5-347D-44BA-9AB4-BA35DF77891A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96DAC541-7B7A-43D3-8B79-37D633B846F1}">
                <asvg:svgBlip xmlns:asvg="http://schemas.microsoft.com/office/drawing/2016/SVG/main" xmlns="" r:embed="rId9"/>
              </a:ext>
            </a:extLst>
          </a:blip>
          <a:srcRect b="58692"/>
          <a:stretch/>
        </p:blipFill>
        <p:spPr>
          <a:xfrm flipH="1">
            <a:off x="6636381" y="4214048"/>
            <a:ext cx="1371444" cy="812438"/>
          </a:xfrm>
          <a:prstGeom prst="rect">
            <a:avLst/>
          </a:prstGeom>
        </p:spPr>
      </p:pic>
      <p:grpSp>
        <p:nvGrpSpPr>
          <p:cNvPr id="184" name="Group 183">
            <a:extLst>
              <a:ext uri="{FF2B5EF4-FFF2-40B4-BE49-F238E27FC236}">
                <a16:creationId xmlns:a16="http://schemas.microsoft.com/office/drawing/2014/main" xmlns="" id="{6421CB76-6C06-4234-AEDE-7EC0FC5142CF}"/>
              </a:ext>
            </a:extLst>
          </p:cNvPr>
          <p:cNvGrpSpPr/>
          <p:nvPr/>
        </p:nvGrpSpPr>
        <p:grpSpPr>
          <a:xfrm>
            <a:off x="1420671" y="3400238"/>
            <a:ext cx="418704" cy="1810915"/>
            <a:chOff x="1420671" y="3400238"/>
            <a:chExt cx="418704" cy="1810915"/>
          </a:xfrm>
        </p:grpSpPr>
        <p:sp>
          <p:nvSpPr>
            <p:cNvPr id="178" name="TextBox 177">
              <a:extLst>
                <a:ext uri="{FF2B5EF4-FFF2-40B4-BE49-F238E27FC236}">
                  <a16:creationId xmlns:a16="http://schemas.microsoft.com/office/drawing/2014/main" xmlns="" id="{21FA898E-7EE5-48B7-8566-BBF66ED7F7A9}"/>
                </a:ext>
              </a:extLst>
            </p:cNvPr>
            <p:cNvSpPr txBox="1"/>
            <p:nvPr/>
          </p:nvSpPr>
          <p:spPr>
            <a:xfrm>
              <a:off x="1420671" y="3400238"/>
              <a:ext cx="41870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b="1" dirty="0">
                  <a:solidFill>
                    <a:schemeClr val="bg1"/>
                  </a:solidFill>
                </a:rPr>
                <a:t>01</a:t>
              </a:r>
            </a:p>
          </p:txBody>
        </p:sp>
        <p:sp>
          <p:nvSpPr>
            <p:cNvPr id="183" name="TextBox 182">
              <a:extLst>
                <a:ext uri="{FF2B5EF4-FFF2-40B4-BE49-F238E27FC236}">
                  <a16:creationId xmlns:a16="http://schemas.microsoft.com/office/drawing/2014/main" xmlns="" id="{1D2A1E18-138C-4A09-9D26-0091D73A3FC7}"/>
                </a:ext>
              </a:extLst>
            </p:cNvPr>
            <p:cNvSpPr txBox="1"/>
            <p:nvPr/>
          </p:nvSpPr>
          <p:spPr>
            <a:xfrm>
              <a:off x="1420671" y="4841821"/>
              <a:ext cx="41870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b="1" dirty="0">
                  <a:solidFill>
                    <a:schemeClr val="bg1"/>
                  </a:solidFill>
                </a:rPr>
                <a:t>05</a:t>
              </a:r>
            </a:p>
          </p:txBody>
        </p:sp>
      </p:grpSp>
      <p:sp>
        <p:nvSpPr>
          <p:cNvPr id="204" name="TextBox 203">
            <a:extLst>
              <a:ext uri="{FF2B5EF4-FFF2-40B4-BE49-F238E27FC236}">
                <a16:creationId xmlns:a16="http://schemas.microsoft.com/office/drawing/2014/main" xmlns="" id="{FE4C74BE-C0D2-46F8-B256-66275E50B842}"/>
              </a:ext>
            </a:extLst>
          </p:cNvPr>
          <p:cNvSpPr txBox="1"/>
          <p:nvPr/>
        </p:nvSpPr>
        <p:spPr>
          <a:xfrm>
            <a:off x="3652228" y="3400238"/>
            <a:ext cx="41870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02</a:t>
            </a:r>
          </a:p>
        </p:txBody>
      </p:sp>
      <p:sp>
        <p:nvSpPr>
          <p:cNvPr id="231" name="TextBox 230">
            <a:extLst>
              <a:ext uri="{FF2B5EF4-FFF2-40B4-BE49-F238E27FC236}">
                <a16:creationId xmlns:a16="http://schemas.microsoft.com/office/drawing/2014/main" xmlns="" id="{E3BB0AF1-451C-4BAB-B97D-219D27A83122}"/>
              </a:ext>
            </a:extLst>
          </p:cNvPr>
          <p:cNvSpPr txBox="1"/>
          <p:nvPr/>
        </p:nvSpPr>
        <p:spPr>
          <a:xfrm>
            <a:off x="8115342" y="3400238"/>
            <a:ext cx="41870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03</a:t>
            </a:r>
          </a:p>
        </p:txBody>
      </p:sp>
      <p:grpSp>
        <p:nvGrpSpPr>
          <p:cNvPr id="233" name="Group 232">
            <a:extLst>
              <a:ext uri="{FF2B5EF4-FFF2-40B4-BE49-F238E27FC236}">
                <a16:creationId xmlns:a16="http://schemas.microsoft.com/office/drawing/2014/main" xmlns="" id="{9D353C10-312A-49AF-BEDE-EE1F71E73A85}"/>
              </a:ext>
            </a:extLst>
          </p:cNvPr>
          <p:cNvGrpSpPr/>
          <p:nvPr/>
        </p:nvGrpSpPr>
        <p:grpSpPr>
          <a:xfrm>
            <a:off x="10346899" y="3400238"/>
            <a:ext cx="418704" cy="1810915"/>
            <a:chOff x="1420671" y="3400238"/>
            <a:chExt cx="418704" cy="1810915"/>
          </a:xfrm>
        </p:grpSpPr>
        <p:sp>
          <p:nvSpPr>
            <p:cNvPr id="234" name="TextBox 233">
              <a:extLst>
                <a:ext uri="{FF2B5EF4-FFF2-40B4-BE49-F238E27FC236}">
                  <a16:creationId xmlns:a16="http://schemas.microsoft.com/office/drawing/2014/main" xmlns="" id="{68CFCF6D-B350-4CD3-A9F2-16A3F0B52BBB}"/>
                </a:ext>
              </a:extLst>
            </p:cNvPr>
            <p:cNvSpPr txBox="1"/>
            <p:nvPr/>
          </p:nvSpPr>
          <p:spPr>
            <a:xfrm>
              <a:off x="1420671" y="3400238"/>
              <a:ext cx="41870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b="1" dirty="0">
                  <a:solidFill>
                    <a:schemeClr val="bg1"/>
                  </a:solidFill>
                </a:rPr>
                <a:t>04</a:t>
              </a:r>
            </a:p>
          </p:txBody>
        </p:sp>
        <p:sp>
          <p:nvSpPr>
            <p:cNvPr id="235" name="TextBox 234">
              <a:extLst>
                <a:ext uri="{FF2B5EF4-FFF2-40B4-BE49-F238E27FC236}">
                  <a16:creationId xmlns:a16="http://schemas.microsoft.com/office/drawing/2014/main" xmlns="" id="{8267478B-A854-4C42-900A-F8BA87AB75B2}"/>
                </a:ext>
              </a:extLst>
            </p:cNvPr>
            <p:cNvSpPr txBox="1"/>
            <p:nvPr/>
          </p:nvSpPr>
          <p:spPr>
            <a:xfrm>
              <a:off x="1420671" y="4841821"/>
              <a:ext cx="41870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b="1" dirty="0" smtClean="0">
                  <a:solidFill>
                    <a:schemeClr val="bg1"/>
                  </a:solidFill>
                </a:rPr>
                <a:t>0</a:t>
              </a:r>
              <a:r>
                <a:rPr lang="ro-RO" b="1" dirty="0" smtClean="0">
                  <a:solidFill>
                    <a:schemeClr val="bg1"/>
                  </a:solidFill>
                </a:rPr>
                <a:t>6</a:t>
              </a:r>
              <a:endParaRPr lang="en-US" b="1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5842495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Freeform: Shape 106">
            <a:extLst>
              <a:ext uri="{FF2B5EF4-FFF2-40B4-BE49-F238E27FC236}">
                <a16:creationId xmlns:a16="http://schemas.microsoft.com/office/drawing/2014/main" xmlns="" id="{AFE1D6F8-09C8-416E-9BDB-BBA9C88D8F3C}"/>
              </a:ext>
            </a:extLst>
          </p:cNvPr>
          <p:cNvSpPr/>
          <p:nvPr/>
        </p:nvSpPr>
        <p:spPr>
          <a:xfrm>
            <a:off x="-1" y="2951745"/>
            <a:ext cx="4513005" cy="3906255"/>
          </a:xfrm>
          <a:custGeom>
            <a:avLst/>
            <a:gdLst>
              <a:gd name="connsiteX0" fmla="*/ 0 w 3933758"/>
              <a:gd name="connsiteY0" fmla="*/ 0 h 3404885"/>
              <a:gd name="connsiteX1" fmla="*/ 56108 w 3933758"/>
              <a:gd name="connsiteY1" fmla="*/ 12385 h 3404885"/>
              <a:gd name="connsiteX2" fmla="*/ 619125 w 3933758"/>
              <a:gd name="connsiteY2" fmla="*/ 375935 h 3404885"/>
              <a:gd name="connsiteX3" fmla="*/ 1123950 w 3933758"/>
              <a:gd name="connsiteY3" fmla="*/ 1747535 h 3404885"/>
              <a:gd name="connsiteX4" fmla="*/ 2790825 w 3933758"/>
              <a:gd name="connsiteY4" fmla="*/ 2338085 h 3404885"/>
              <a:gd name="connsiteX5" fmla="*/ 3219450 w 3933758"/>
              <a:gd name="connsiteY5" fmla="*/ 3014360 h 3404885"/>
              <a:gd name="connsiteX6" fmla="*/ 3792141 w 3933758"/>
              <a:gd name="connsiteY6" fmla="*/ 3337615 h 3404885"/>
              <a:gd name="connsiteX7" fmla="*/ 3933758 w 3933758"/>
              <a:gd name="connsiteY7" fmla="*/ 3404885 h 3404885"/>
              <a:gd name="connsiteX8" fmla="*/ 0 w 3933758"/>
              <a:gd name="connsiteY8" fmla="*/ 3404885 h 34048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33758" h="3404885">
                <a:moveTo>
                  <a:pt x="0" y="0"/>
                </a:moveTo>
                <a:lnTo>
                  <a:pt x="56108" y="12385"/>
                </a:lnTo>
                <a:cubicBezTo>
                  <a:pt x="262533" y="65926"/>
                  <a:pt x="459581" y="153289"/>
                  <a:pt x="619125" y="375935"/>
                </a:cubicBezTo>
                <a:cubicBezTo>
                  <a:pt x="831850" y="672798"/>
                  <a:pt x="762000" y="1420510"/>
                  <a:pt x="1123950" y="1747535"/>
                </a:cubicBezTo>
                <a:cubicBezTo>
                  <a:pt x="1485900" y="2074560"/>
                  <a:pt x="2441575" y="2126948"/>
                  <a:pt x="2790825" y="2338085"/>
                </a:cubicBezTo>
                <a:cubicBezTo>
                  <a:pt x="3140075" y="2549222"/>
                  <a:pt x="2973388" y="2806398"/>
                  <a:pt x="3219450" y="3014360"/>
                </a:cubicBezTo>
                <a:cubicBezTo>
                  <a:pt x="3342481" y="3118341"/>
                  <a:pt x="3575447" y="3234229"/>
                  <a:pt x="3792141" y="3337615"/>
                </a:cubicBezTo>
                <a:lnTo>
                  <a:pt x="3933758" y="3404885"/>
                </a:lnTo>
                <a:lnTo>
                  <a:pt x="0" y="3404885"/>
                </a:lnTo>
                <a:close/>
              </a:path>
            </a:pathLst>
          </a:custGeom>
          <a:solidFill>
            <a:srgbClr val="D3E3FF">
              <a:alpha val="30000"/>
            </a:srgbClr>
          </a:solidFill>
          <a:ln w="28107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>
              <a:solidFill>
                <a:schemeClr val="tx1"/>
              </a:solidFill>
            </a:endParaRPr>
          </a:p>
        </p:txBody>
      </p:sp>
      <p:pic>
        <p:nvPicPr>
          <p:cNvPr id="113" name="Graphic 112">
            <a:extLst>
              <a:ext uri="{FF2B5EF4-FFF2-40B4-BE49-F238E27FC236}">
                <a16:creationId xmlns:a16="http://schemas.microsoft.com/office/drawing/2014/main" xmlns="" id="{EE097B3B-589A-4FBA-87D4-B6FAA48AA2A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b="17117"/>
          <a:stretch/>
        </p:blipFill>
        <p:spPr>
          <a:xfrm>
            <a:off x="3204620" y="4843909"/>
            <a:ext cx="793489" cy="2014091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xmlns="" id="{CD1757C1-DC5C-4EFC-8F47-531DD1B6E028}"/>
              </a:ext>
            </a:extLst>
          </p:cNvPr>
          <p:cNvSpPr txBox="1"/>
          <p:nvPr/>
        </p:nvSpPr>
        <p:spPr>
          <a:xfrm>
            <a:off x="3866372" y="1506860"/>
            <a:ext cx="4534808" cy="4497257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indent="-457200" algn="ctr">
              <a:lnSpc>
                <a:spcPct val="90000"/>
              </a:lnSpc>
              <a:spcBef>
                <a:spcPts val="1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228600" lvl="1" indent="-228600" algn="ctr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685800" lvl="2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3pPr>
            <a:lvl4pPr marL="1143000" lvl="3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r>
              <a:rPr lang="ro-RO" sz="2400" dirty="0" smtClean="0">
                <a:solidFill>
                  <a:schemeClr val="tx1"/>
                </a:solidFill>
                <a:sym typeface="Calibri" panose="020F0502020204030204" pitchFamily="34" charset="0"/>
              </a:rPr>
              <a:t>SUGERAREA UNEI ENTITĂȚI JURIDICE PE BAZA DATELOR INTRODUSE ÎN CADRUL WIZARD-ULUI</a:t>
            </a:r>
            <a:endParaRPr lang="en-US" sz="2400" dirty="0">
              <a:solidFill>
                <a:schemeClr val="tx1"/>
              </a:solidFill>
              <a:sym typeface="Calibri" panose="020F050202020403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C5F00ECA-2BF0-4EA1-B165-145A0AABA782}"/>
              </a:ext>
            </a:extLst>
          </p:cNvPr>
          <p:cNvSpPr txBox="1"/>
          <p:nvPr/>
        </p:nvSpPr>
        <p:spPr>
          <a:xfrm>
            <a:off x="1638300" y="541866"/>
            <a:ext cx="891540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o-RO" sz="3600" noProof="0" dirty="0" smtClean="0">
                <a:latin typeface="Arial Black" panose="020B0A04020102020204" pitchFamily="34" charset="0"/>
              </a:rPr>
              <a:t>TASK-UL PRIMIT LA HACKATHON</a:t>
            </a:r>
            <a:endParaRPr kumimoji="0" lang="en-US" sz="36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 Black" panose="020B0A04020102020204" pitchFamily="34" charset="0"/>
            </a:endParaRPr>
          </a:p>
        </p:txBody>
      </p:sp>
      <p:sp>
        <p:nvSpPr>
          <p:cNvPr id="108" name="Freeform: Shape 107">
            <a:extLst>
              <a:ext uri="{FF2B5EF4-FFF2-40B4-BE49-F238E27FC236}">
                <a16:creationId xmlns:a16="http://schemas.microsoft.com/office/drawing/2014/main" xmlns="" id="{8E10BFC8-007C-4BC5-BB28-E384E68F58E6}"/>
              </a:ext>
            </a:extLst>
          </p:cNvPr>
          <p:cNvSpPr/>
          <p:nvPr/>
        </p:nvSpPr>
        <p:spPr>
          <a:xfrm rot="10800000">
            <a:off x="8184267" y="0"/>
            <a:ext cx="4007733" cy="3468914"/>
          </a:xfrm>
          <a:custGeom>
            <a:avLst/>
            <a:gdLst>
              <a:gd name="connsiteX0" fmla="*/ 0 w 3933758"/>
              <a:gd name="connsiteY0" fmla="*/ 0 h 3404885"/>
              <a:gd name="connsiteX1" fmla="*/ 56108 w 3933758"/>
              <a:gd name="connsiteY1" fmla="*/ 12385 h 3404885"/>
              <a:gd name="connsiteX2" fmla="*/ 619125 w 3933758"/>
              <a:gd name="connsiteY2" fmla="*/ 375935 h 3404885"/>
              <a:gd name="connsiteX3" fmla="*/ 1123950 w 3933758"/>
              <a:gd name="connsiteY3" fmla="*/ 1747535 h 3404885"/>
              <a:gd name="connsiteX4" fmla="*/ 2790825 w 3933758"/>
              <a:gd name="connsiteY4" fmla="*/ 2338085 h 3404885"/>
              <a:gd name="connsiteX5" fmla="*/ 3219450 w 3933758"/>
              <a:gd name="connsiteY5" fmla="*/ 3014360 h 3404885"/>
              <a:gd name="connsiteX6" fmla="*/ 3792141 w 3933758"/>
              <a:gd name="connsiteY6" fmla="*/ 3337615 h 3404885"/>
              <a:gd name="connsiteX7" fmla="*/ 3933758 w 3933758"/>
              <a:gd name="connsiteY7" fmla="*/ 3404885 h 3404885"/>
              <a:gd name="connsiteX8" fmla="*/ 0 w 3933758"/>
              <a:gd name="connsiteY8" fmla="*/ 3404885 h 34048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33758" h="3404885">
                <a:moveTo>
                  <a:pt x="0" y="0"/>
                </a:moveTo>
                <a:lnTo>
                  <a:pt x="56108" y="12385"/>
                </a:lnTo>
                <a:cubicBezTo>
                  <a:pt x="262533" y="65926"/>
                  <a:pt x="459581" y="153289"/>
                  <a:pt x="619125" y="375935"/>
                </a:cubicBezTo>
                <a:cubicBezTo>
                  <a:pt x="831850" y="672798"/>
                  <a:pt x="762000" y="1420510"/>
                  <a:pt x="1123950" y="1747535"/>
                </a:cubicBezTo>
                <a:cubicBezTo>
                  <a:pt x="1485900" y="2074560"/>
                  <a:pt x="2441575" y="2126948"/>
                  <a:pt x="2790825" y="2338085"/>
                </a:cubicBezTo>
                <a:cubicBezTo>
                  <a:pt x="3140075" y="2549222"/>
                  <a:pt x="2973388" y="2806398"/>
                  <a:pt x="3219450" y="3014360"/>
                </a:cubicBezTo>
                <a:cubicBezTo>
                  <a:pt x="3342481" y="3118341"/>
                  <a:pt x="3575447" y="3234229"/>
                  <a:pt x="3792141" y="3337615"/>
                </a:cubicBezTo>
                <a:lnTo>
                  <a:pt x="3933758" y="3404885"/>
                </a:lnTo>
                <a:lnTo>
                  <a:pt x="0" y="3404885"/>
                </a:lnTo>
                <a:close/>
              </a:path>
            </a:pathLst>
          </a:custGeom>
          <a:solidFill>
            <a:srgbClr val="D3E3FF">
              <a:alpha val="30000"/>
            </a:srgbClr>
          </a:solidFill>
          <a:ln w="28107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>
              <a:solidFill>
                <a:schemeClr val="tx1"/>
              </a:solidFill>
            </a:endParaRPr>
          </a:p>
        </p:txBody>
      </p:sp>
      <p:pic>
        <p:nvPicPr>
          <p:cNvPr id="110" name="Graphic 109">
            <a:extLst>
              <a:ext uri="{FF2B5EF4-FFF2-40B4-BE49-F238E27FC236}">
                <a16:creationId xmlns:a16="http://schemas.microsoft.com/office/drawing/2014/main" xmlns="" id="{AA37433B-3496-42E9-A504-A6B418C46F64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xmlns="" r:embed="rId6"/>
              </a:ext>
            </a:extLst>
          </a:blip>
          <a:srcRect b="45435"/>
          <a:stretch/>
        </p:blipFill>
        <p:spPr>
          <a:xfrm flipH="1">
            <a:off x="7523592" y="4566911"/>
            <a:ext cx="2119032" cy="2291089"/>
          </a:xfrm>
          <a:prstGeom prst="rect">
            <a:avLst/>
          </a:prstGeom>
        </p:spPr>
      </p:pic>
      <p:sp>
        <p:nvSpPr>
          <p:cNvPr id="121" name="Freeform: Shape 120">
            <a:extLst>
              <a:ext uri="{FF2B5EF4-FFF2-40B4-BE49-F238E27FC236}">
                <a16:creationId xmlns:a16="http://schemas.microsoft.com/office/drawing/2014/main" xmlns="" id="{F95742E1-5427-419E-B655-60EAB69DC534}"/>
              </a:ext>
            </a:extLst>
          </p:cNvPr>
          <p:cNvSpPr/>
          <p:nvPr/>
        </p:nvSpPr>
        <p:spPr>
          <a:xfrm>
            <a:off x="-1" y="5150234"/>
            <a:ext cx="2351315" cy="1707766"/>
          </a:xfrm>
          <a:custGeom>
            <a:avLst/>
            <a:gdLst>
              <a:gd name="connsiteX0" fmla="*/ 0 w 2445467"/>
              <a:gd name="connsiteY0" fmla="*/ 0 h 2737444"/>
              <a:gd name="connsiteX1" fmla="*/ 64083 w 2445467"/>
              <a:gd name="connsiteY1" fmla="*/ 53704 h 2737444"/>
              <a:gd name="connsiteX2" fmla="*/ 435430 w 2445467"/>
              <a:gd name="connsiteY2" fmla="*/ 465958 h 2737444"/>
              <a:gd name="connsiteX3" fmla="*/ 508001 w 2445467"/>
              <a:gd name="connsiteY3" fmla="*/ 1525501 h 2737444"/>
              <a:gd name="connsiteX4" fmla="*/ 1553030 w 2445467"/>
              <a:gd name="connsiteY4" fmla="*/ 2106073 h 2737444"/>
              <a:gd name="connsiteX5" fmla="*/ 2327730 w 2445467"/>
              <a:gd name="connsiteY5" fmla="*/ 2650359 h 2737444"/>
              <a:gd name="connsiteX6" fmla="*/ 2445467 w 2445467"/>
              <a:gd name="connsiteY6" fmla="*/ 2737444 h 2737444"/>
              <a:gd name="connsiteX7" fmla="*/ 0 w 2445467"/>
              <a:gd name="connsiteY7" fmla="*/ 2737444 h 27374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445467" h="2737444">
                <a:moveTo>
                  <a:pt x="0" y="0"/>
                </a:moveTo>
                <a:lnTo>
                  <a:pt x="64083" y="53704"/>
                </a:lnTo>
                <a:cubicBezTo>
                  <a:pt x="222478" y="195970"/>
                  <a:pt x="361952" y="349844"/>
                  <a:pt x="435430" y="465958"/>
                </a:cubicBezTo>
                <a:cubicBezTo>
                  <a:pt x="631373" y="775596"/>
                  <a:pt x="321734" y="1252149"/>
                  <a:pt x="508001" y="1525501"/>
                </a:cubicBezTo>
                <a:cubicBezTo>
                  <a:pt x="694268" y="1798854"/>
                  <a:pt x="1134535" y="1830302"/>
                  <a:pt x="1553030" y="2106073"/>
                </a:cubicBezTo>
                <a:cubicBezTo>
                  <a:pt x="1762278" y="2243959"/>
                  <a:pt x="2051958" y="2448369"/>
                  <a:pt x="2327730" y="2650359"/>
                </a:cubicBezTo>
                <a:lnTo>
                  <a:pt x="2445467" y="2737444"/>
                </a:lnTo>
                <a:lnTo>
                  <a:pt x="0" y="2737444"/>
                </a:lnTo>
                <a:close/>
              </a:path>
            </a:pathLst>
          </a:custGeom>
          <a:solidFill>
            <a:srgbClr val="4399FF"/>
          </a:solidFill>
          <a:ln w="28107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127" name="Freeform: Shape 126">
            <a:extLst>
              <a:ext uri="{FF2B5EF4-FFF2-40B4-BE49-F238E27FC236}">
                <a16:creationId xmlns:a16="http://schemas.microsoft.com/office/drawing/2014/main" xmlns="" id="{773F5E04-2B3E-428C-BA34-627A1BA57FAF}"/>
              </a:ext>
            </a:extLst>
          </p:cNvPr>
          <p:cNvSpPr/>
          <p:nvPr/>
        </p:nvSpPr>
        <p:spPr>
          <a:xfrm rot="10800000">
            <a:off x="9918699" y="1"/>
            <a:ext cx="2273300" cy="1680291"/>
          </a:xfrm>
          <a:custGeom>
            <a:avLst/>
            <a:gdLst>
              <a:gd name="connsiteX0" fmla="*/ 2267817 w 2273300"/>
              <a:gd name="connsiteY0" fmla="*/ 1680291 h 1680291"/>
              <a:gd name="connsiteX1" fmla="*/ 0 w 2273300"/>
              <a:gd name="connsiteY1" fmla="*/ 1680291 h 1680291"/>
              <a:gd name="connsiteX2" fmla="*/ 0 w 2273300"/>
              <a:gd name="connsiteY2" fmla="*/ 0 h 1680291"/>
              <a:gd name="connsiteX3" fmla="*/ 34939 w 2273300"/>
              <a:gd name="connsiteY3" fmla="*/ 21056 h 1680291"/>
              <a:gd name="connsiteX4" fmla="*/ 203200 w 2273300"/>
              <a:gd name="connsiteY4" fmla="*/ 185320 h 1680291"/>
              <a:gd name="connsiteX5" fmla="*/ 275771 w 2273300"/>
              <a:gd name="connsiteY5" fmla="*/ 867491 h 1680291"/>
              <a:gd name="connsiteX6" fmla="*/ 2046514 w 2273300"/>
              <a:gd name="connsiteY6" fmla="*/ 1143262 h 1680291"/>
              <a:gd name="connsiteX7" fmla="*/ 2273300 w 2273300"/>
              <a:gd name="connsiteY7" fmla="*/ 1565991 h 16802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73300" h="1680291">
                <a:moveTo>
                  <a:pt x="2267817" y="1680291"/>
                </a:moveTo>
                <a:lnTo>
                  <a:pt x="0" y="1680291"/>
                </a:lnTo>
                <a:lnTo>
                  <a:pt x="0" y="0"/>
                </a:lnTo>
                <a:lnTo>
                  <a:pt x="34939" y="21056"/>
                </a:lnTo>
                <a:cubicBezTo>
                  <a:pt x="105228" y="67732"/>
                  <a:pt x="167821" y="123634"/>
                  <a:pt x="203200" y="185320"/>
                </a:cubicBezTo>
                <a:cubicBezTo>
                  <a:pt x="297543" y="349815"/>
                  <a:pt x="-31448" y="707834"/>
                  <a:pt x="275771" y="867491"/>
                </a:cubicBezTo>
                <a:cubicBezTo>
                  <a:pt x="582990" y="1027148"/>
                  <a:pt x="1734457" y="952157"/>
                  <a:pt x="2046514" y="1143262"/>
                </a:cubicBezTo>
                <a:cubicBezTo>
                  <a:pt x="2202542" y="1238814"/>
                  <a:pt x="2267252" y="1400286"/>
                  <a:pt x="2273300" y="1565991"/>
                </a:cubicBezTo>
                <a:close/>
              </a:path>
            </a:pathLst>
          </a:custGeom>
          <a:solidFill>
            <a:srgbClr val="FFD966"/>
          </a:solidFill>
          <a:ln w="28107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>
              <a:solidFill>
                <a:schemeClr val="tx1"/>
              </a:solidFill>
            </a:endParaRPr>
          </a:p>
        </p:txBody>
      </p:sp>
      <p:grpSp>
        <p:nvGrpSpPr>
          <p:cNvPr id="135" name="Group 134">
            <a:extLst>
              <a:ext uri="{FF2B5EF4-FFF2-40B4-BE49-F238E27FC236}">
                <a16:creationId xmlns:a16="http://schemas.microsoft.com/office/drawing/2014/main" xmlns="" id="{AC28D38F-28AE-473C-842B-0543FDF21014}"/>
              </a:ext>
            </a:extLst>
          </p:cNvPr>
          <p:cNvGrpSpPr/>
          <p:nvPr/>
        </p:nvGrpSpPr>
        <p:grpSpPr>
          <a:xfrm>
            <a:off x="3475843" y="3396425"/>
            <a:ext cx="396399" cy="232252"/>
            <a:chOff x="4833938" y="4046538"/>
            <a:chExt cx="360363" cy="211138"/>
          </a:xfrm>
          <a:solidFill>
            <a:schemeClr val="bg1"/>
          </a:solidFill>
        </p:grpSpPr>
        <p:sp>
          <p:nvSpPr>
            <p:cNvPr id="136" name="Freeform 46">
              <a:extLst>
                <a:ext uri="{FF2B5EF4-FFF2-40B4-BE49-F238E27FC236}">
                  <a16:creationId xmlns:a16="http://schemas.microsoft.com/office/drawing/2014/main" xmlns="" id="{3DEA68C0-3B50-4044-A6C2-9C443C7E9DE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33938" y="4046538"/>
              <a:ext cx="360363" cy="211138"/>
            </a:xfrm>
            <a:custGeom>
              <a:avLst/>
              <a:gdLst>
                <a:gd name="T0" fmla="*/ 0 w 96"/>
                <a:gd name="T1" fmla="*/ 29 h 56"/>
                <a:gd name="T2" fmla="*/ 48 w 96"/>
                <a:gd name="T3" fmla="*/ 56 h 56"/>
                <a:gd name="T4" fmla="*/ 96 w 96"/>
                <a:gd name="T5" fmla="*/ 29 h 56"/>
                <a:gd name="T6" fmla="*/ 96 w 96"/>
                <a:gd name="T7" fmla="*/ 27 h 56"/>
                <a:gd name="T8" fmla="*/ 48 w 96"/>
                <a:gd name="T9" fmla="*/ 0 h 56"/>
                <a:gd name="T10" fmla="*/ 0 w 96"/>
                <a:gd name="T11" fmla="*/ 27 h 56"/>
                <a:gd name="T12" fmla="*/ 0 w 96"/>
                <a:gd name="T13" fmla="*/ 29 h 56"/>
                <a:gd name="T14" fmla="*/ 48 w 96"/>
                <a:gd name="T15" fmla="*/ 10 h 56"/>
                <a:gd name="T16" fmla="*/ 66 w 96"/>
                <a:gd name="T17" fmla="*/ 28 h 56"/>
                <a:gd name="T18" fmla="*/ 48 w 96"/>
                <a:gd name="T19" fmla="*/ 46 h 56"/>
                <a:gd name="T20" fmla="*/ 30 w 96"/>
                <a:gd name="T21" fmla="*/ 28 h 56"/>
                <a:gd name="T22" fmla="*/ 48 w 96"/>
                <a:gd name="T23" fmla="*/ 1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6" h="56">
                  <a:moveTo>
                    <a:pt x="0" y="29"/>
                  </a:moveTo>
                  <a:cubicBezTo>
                    <a:pt x="1" y="30"/>
                    <a:pt x="22" y="56"/>
                    <a:pt x="48" y="56"/>
                  </a:cubicBezTo>
                  <a:cubicBezTo>
                    <a:pt x="74" y="56"/>
                    <a:pt x="95" y="30"/>
                    <a:pt x="96" y="29"/>
                  </a:cubicBezTo>
                  <a:cubicBezTo>
                    <a:pt x="96" y="29"/>
                    <a:pt x="96" y="27"/>
                    <a:pt x="96" y="27"/>
                  </a:cubicBezTo>
                  <a:cubicBezTo>
                    <a:pt x="95" y="26"/>
                    <a:pt x="74" y="0"/>
                    <a:pt x="48" y="0"/>
                  </a:cubicBezTo>
                  <a:cubicBezTo>
                    <a:pt x="22" y="0"/>
                    <a:pt x="1" y="26"/>
                    <a:pt x="0" y="27"/>
                  </a:cubicBezTo>
                  <a:cubicBezTo>
                    <a:pt x="0" y="27"/>
                    <a:pt x="0" y="29"/>
                    <a:pt x="0" y="29"/>
                  </a:cubicBezTo>
                  <a:close/>
                  <a:moveTo>
                    <a:pt x="48" y="10"/>
                  </a:moveTo>
                  <a:cubicBezTo>
                    <a:pt x="58" y="10"/>
                    <a:pt x="66" y="18"/>
                    <a:pt x="66" y="28"/>
                  </a:cubicBezTo>
                  <a:cubicBezTo>
                    <a:pt x="66" y="38"/>
                    <a:pt x="58" y="46"/>
                    <a:pt x="48" y="46"/>
                  </a:cubicBezTo>
                  <a:cubicBezTo>
                    <a:pt x="38" y="46"/>
                    <a:pt x="30" y="38"/>
                    <a:pt x="30" y="28"/>
                  </a:cubicBezTo>
                  <a:cubicBezTo>
                    <a:pt x="30" y="18"/>
                    <a:pt x="38" y="10"/>
                    <a:pt x="48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7" name="Oval 47">
              <a:extLst>
                <a:ext uri="{FF2B5EF4-FFF2-40B4-BE49-F238E27FC236}">
                  <a16:creationId xmlns:a16="http://schemas.microsoft.com/office/drawing/2014/main" xmlns="" id="{AA1CD31E-ECB0-4896-B6D0-4131E5C6C27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60938" y="4098925"/>
              <a:ext cx="106363" cy="10477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38" name="Group 137">
            <a:extLst>
              <a:ext uri="{FF2B5EF4-FFF2-40B4-BE49-F238E27FC236}">
                <a16:creationId xmlns:a16="http://schemas.microsoft.com/office/drawing/2014/main" xmlns="" id="{A14582BA-82C1-4113-996A-7CC1B2154D82}"/>
              </a:ext>
            </a:extLst>
          </p:cNvPr>
          <p:cNvGrpSpPr/>
          <p:nvPr/>
        </p:nvGrpSpPr>
        <p:grpSpPr>
          <a:xfrm>
            <a:off x="8331793" y="3046695"/>
            <a:ext cx="327603" cy="304512"/>
            <a:chOff x="6276975" y="3981450"/>
            <a:chExt cx="360363" cy="334963"/>
          </a:xfrm>
          <a:solidFill>
            <a:schemeClr val="bg1"/>
          </a:solidFill>
        </p:grpSpPr>
        <p:sp>
          <p:nvSpPr>
            <p:cNvPr id="139" name="Freeform 98">
              <a:extLst>
                <a:ext uri="{FF2B5EF4-FFF2-40B4-BE49-F238E27FC236}">
                  <a16:creationId xmlns:a16="http://schemas.microsoft.com/office/drawing/2014/main" xmlns="" id="{9F011A10-FA67-4DA6-9759-DEECE1B176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72238" y="3981450"/>
              <a:ext cx="165100" cy="334963"/>
            </a:xfrm>
            <a:custGeom>
              <a:avLst/>
              <a:gdLst>
                <a:gd name="T0" fmla="*/ 14 w 44"/>
                <a:gd name="T1" fmla="*/ 37 h 89"/>
                <a:gd name="T2" fmla="*/ 12 w 44"/>
                <a:gd name="T3" fmla="*/ 39 h 89"/>
                <a:gd name="T4" fmla="*/ 10 w 44"/>
                <a:gd name="T5" fmla="*/ 37 h 89"/>
                <a:gd name="T6" fmla="*/ 0 w 44"/>
                <a:gd name="T7" fmla="*/ 31 h 89"/>
                <a:gd name="T8" fmla="*/ 0 w 44"/>
                <a:gd name="T9" fmla="*/ 67 h 89"/>
                <a:gd name="T10" fmla="*/ 22 w 44"/>
                <a:gd name="T11" fmla="*/ 89 h 89"/>
                <a:gd name="T12" fmla="*/ 44 w 44"/>
                <a:gd name="T13" fmla="*/ 67 h 89"/>
                <a:gd name="T14" fmla="*/ 40 w 44"/>
                <a:gd name="T15" fmla="*/ 54 h 89"/>
                <a:gd name="T16" fmla="*/ 28 w 44"/>
                <a:gd name="T17" fmla="*/ 26 h 89"/>
                <a:gd name="T18" fmla="*/ 27 w 44"/>
                <a:gd name="T19" fmla="*/ 26 h 89"/>
                <a:gd name="T20" fmla="*/ 22 w 44"/>
                <a:gd name="T21" fmla="*/ 20 h 89"/>
                <a:gd name="T22" fmla="*/ 16 w 44"/>
                <a:gd name="T23" fmla="*/ 5 h 89"/>
                <a:gd name="T24" fmla="*/ 15 w 44"/>
                <a:gd name="T25" fmla="*/ 4 h 89"/>
                <a:gd name="T26" fmla="*/ 1 w 44"/>
                <a:gd name="T27" fmla="*/ 4 h 89"/>
                <a:gd name="T28" fmla="*/ 0 w 44"/>
                <a:gd name="T29" fmla="*/ 5 h 89"/>
                <a:gd name="T30" fmla="*/ 0 w 44"/>
                <a:gd name="T31" fmla="*/ 27 h 89"/>
                <a:gd name="T32" fmla="*/ 14 w 44"/>
                <a:gd name="T33" fmla="*/ 37 h 89"/>
                <a:gd name="T34" fmla="*/ 22 w 44"/>
                <a:gd name="T35" fmla="*/ 85 h 89"/>
                <a:gd name="T36" fmla="*/ 4 w 44"/>
                <a:gd name="T37" fmla="*/ 67 h 89"/>
                <a:gd name="T38" fmla="*/ 22 w 44"/>
                <a:gd name="T39" fmla="*/ 49 h 89"/>
                <a:gd name="T40" fmla="*/ 40 w 44"/>
                <a:gd name="T41" fmla="*/ 67 h 89"/>
                <a:gd name="T42" fmla="*/ 22 w 44"/>
                <a:gd name="T43" fmla="*/ 85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4" h="89">
                  <a:moveTo>
                    <a:pt x="14" y="37"/>
                  </a:moveTo>
                  <a:cubicBezTo>
                    <a:pt x="14" y="38"/>
                    <a:pt x="13" y="39"/>
                    <a:pt x="12" y="39"/>
                  </a:cubicBezTo>
                  <a:cubicBezTo>
                    <a:pt x="11" y="39"/>
                    <a:pt x="10" y="38"/>
                    <a:pt x="10" y="37"/>
                  </a:cubicBezTo>
                  <a:cubicBezTo>
                    <a:pt x="10" y="35"/>
                    <a:pt x="6" y="32"/>
                    <a:pt x="0" y="31"/>
                  </a:cubicBezTo>
                  <a:cubicBezTo>
                    <a:pt x="0" y="67"/>
                    <a:pt x="0" y="67"/>
                    <a:pt x="0" y="67"/>
                  </a:cubicBezTo>
                  <a:cubicBezTo>
                    <a:pt x="0" y="79"/>
                    <a:pt x="10" y="89"/>
                    <a:pt x="22" y="89"/>
                  </a:cubicBezTo>
                  <a:cubicBezTo>
                    <a:pt x="34" y="89"/>
                    <a:pt x="44" y="79"/>
                    <a:pt x="44" y="67"/>
                  </a:cubicBezTo>
                  <a:cubicBezTo>
                    <a:pt x="44" y="62"/>
                    <a:pt x="42" y="58"/>
                    <a:pt x="40" y="54"/>
                  </a:cubicBezTo>
                  <a:cubicBezTo>
                    <a:pt x="28" y="26"/>
                    <a:pt x="28" y="26"/>
                    <a:pt x="28" y="26"/>
                  </a:cubicBezTo>
                  <a:cubicBezTo>
                    <a:pt x="28" y="26"/>
                    <a:pt x="28" y="26"/>
                    <a:pt x="27" y="26"/>
                  </a:cubicBezTo>
                  <a:cubicBezTo>
                    <a:pt x="22" y="20"/>
                    <a:pt x="22" y="20"/>
                    <a:pt x="22" y="20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6" y="4"/>
                    <a:pt x="16" y="4"/>
                    <a:pt x="15" y="4"/>
                  </a:cubicBezTo>
                  <a:cubicBezTo>
                    <a:pt x="12" y="0"/>
                    <a:pt x="4" y="0"/>
                    <a:pt x="1" y="4"/>
                  </a:cubicBezTo>
                  <a:cubicBezTo>
                    <a:pt x="0" y="4"/>
                    <a:pt x="0" y="5"/>
                    <a:pt x="0" y="5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8" y="28"/>
                    <a:pt x="14" y="32"/>
                    <a:pt x="14" y="37"/>
                  </a:cubicBezTo>
                  <a:close/>
                  <a:moveTo>
                    <a:pt x="22" y="85"/>
                  </a:moveTo>
                  <a:cubicBezTo>
                    <a:pt x="12" y="85"/>
                    <a:pt x="4" y="77"/>
                    <a:pt x="4" y="67"/>
                  </a:cubicBezTo>
                  <a:cubicBezTo>
                    <a:pt x="4" y="57"/>
                    <a:pt x="12" y="49"/>
                    <a:pt x="22" y="49"/>
                  </a:cubicBezTo>
                  <a:cubicBezTo>
                    <a:pt x="32" y="49"/>
                    <a:pt x="40" y="57"/>
                    <a:pt x="40" y="67"/>
                  </a:cubicBezTo>
                  <a:cubicBezTo>
                    <a:pt x="40" y="77"/>
                    <a:pt x="32" y="85"/>
                    <a:pt x="22" y="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0" name="Freeform 99">
              <a:extLst>
                <a:ext uri="{FF2B5EF4-FFF2-40B4-BE49-F238E27FC236}">
                  <a16:creationId xmlns:a16="http://schemas.microsoft.com/office/drawing/2014/main" xmlns="" id="{03647BCC-BF1B-4313-927E-D155F4E552F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76975" y="3981450"/>
              <a:ext cx="165100" cy="334963"/>
            </a:xfrm>
            <a:custGeom>
              <a:avLst/>
              <a:gdLst>
                <a:gd name="T0" fmla="*/ 0 w 44"/>
                <a:gd name="T1" fmla="*/ 67 h 89"/>
                <a:gd name="T2" fmla="*/ 22 w 44"/>
                <a:gd name="T3" fmla="*/ 89 h 89"/>
                <a:gd name="T4" fmla="*/ 44 w 44"/>
                <a:gd name="T5" fmla="*/ 67 h 89"/>
                <a:gd name="T6" fmla="*/ 44 w 44"/>
                <a:gd name="T7" fmla="*/ 31 h 89"/>
                <a:gd name="T8" fmla="*/ 34 w 44"/>
                <a:gd name="T9" fmla="*/ 37 h 89"/>
                <a:gd name="T10" fmla="*/ 32 w 44"/>
                <a:gd name="T11" fmla="*/ 39 h 89"/>
                <a:gd name="T12" fmla="*/ 30 w 44"/>
                <a:gd name="T13" fmla="*/ 37 h 89"/>
                <a:gd name="T14" fmla="*/ 44 w 44"/>
                <a:gd name="T15" fmla="*/ 27 h 89"/>
                <a:gd name="T16" fmla="*/ 44 w 44"/>
                <a:gd name="T17" fmla="*/ 5 h 89"/>
                <a:gd name="T18" fmla="*/ 43 w 44"/>
                <a:gd name="T19" fmla="*/ 4 h 89"/>
                <a:gd name="T20" fmla="*/ 29 w 44"/>
                <a:gd name="T21" fmla="*/ 4 h 89"/>
                <a:gd name="T22" fmla="*/ 28 w 44"/>
                <a:gd name="T23" fmla="*/ 4 h 89"/>
                <a:gd name="T24" fmla="*/ 22 w 44"/>
                <a:gd name="T25" fmla="*/ 20 h 89"/>
                <a:gd name="T26" fmla="*/ 17 w 44"/>
                <a:gd name="T27" fmla="*/ 26 h 89"/>
                <a:gd name="T28" fmla="*/ 16 w 44"/>
                <a:gd name="T29" fmla="*/ 26 h 89"/>
                <a:gd name="T30" fmla="*/ 4 w 44"/>
                <a:gd name="T31" fmla="*/ 54 h 89"/>
                <a:gd name="T32" fmla="*/ 0 w 44"/>
                <a:gd name="T33" fmla="*/ 67 h 89"/>
                <a:gd name="T34" fmla="*/ 22 w 44"/>
                <a:gd name="T35" fmla="*/ 85 h 89"/>
                <a:gd name="T36" fmla="*/ 4 w 44"/>
                <a:gd name="T37" fmla="*/ 67 h 89"/>
                <a:gd name="T38" fmla="*/ 22 w 44"/>
                <a:gd name="T39" fmla="*/ 49 h 89"/>
                <a:gd name="T40" fmla="*/ 40 w 44"/>
                <a:gd name="T41" fmla="*/ 67 h 89"/>
                <a:gd name="T42" fmla="*/ 22 w 44"/>
                <a:gd name="T43" fmla="*/ 85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4" h="89">
                  <a:moveTo>
                    <a:pt x="0" y="67"/>
                  </a:moveTo>
                  <a:cubicBezTo>
                    <a:pt x="0" y="79"/>
                    <a:pt x="10" y="89"/>
                    <a:pt x="22" y="89"/>
                  </a:cubicBezTo>
                  <a:cubicBezTo>
                    <a:pt x="34" y="89"/>
                    <a:pt x="44" y="79"/>
                    <a:pt x="44" y="67"/>
                  </a:cubicBezTo>
                  <a:cubicBezTo>
                    <a:pt x="44" y="31"/>
                    <a:pt x="44" y="31"/>
                    <a:pt x="44" y="31"/>
                  </a:cubicBezTo>
                  <a:cubicBezTo>
                    <a:pt x="38" y="32"/>
                    <a:pt x="34" y="35"/>
                    <a:pt x="34" y="37"/>
                  </a:cubicBezTo>
                  <a:cubicBezTo>
                    <a:pt x="34" y="38"/>
                    <a:pt x="33" y="39"/>
                    <a:pt x="32" y="39"/>
                  </a:cubicBezTo>
                  <a:cubicBezTo>
                    <a:pt x="31" y="39"/>
                    <a:pt x="30" y="38"/>
                    <a:pt x="30" y="37"/>
                  </a:cubicBezTo>
                  <a:cubicBezTo>
                    <a:pt x="30" y="32"/>
                    <a:pt x="36" y="28"/>
                    <a:pt x="44" y="27"/>
                  </a:cubicBezTo>
                  <a:cubicBezTo>
                    <a:pt x="44" y="5"/>
                    <a:pt x="44" y="5"/>
                    <a:pt x="44" y="5"/>
                  </a:cubicBezTo>
                  <a:cubicBezTo>
                    <a:pt x="44" y="5"/>
                    <a:pt x="44" y="4"/>
                    <a:pt x="43" y="4"/>
                  </a:cubicBezTo>
                  <a:cubicBezTo>
                    <a:pt x="40" y="0"/>
                    <a:pt x="32" y="0"/>
                    <a:pt x="29" y="4"/>
                  </a:cubicBezTo>
                  <a:cubicBezTo>
                    <a:pt x="28" y="4"/>
                    <a:pt x="28" y="4"/>
                    <a:pt x="28" y="4"/>
                  </a:cubicBezTo>
                  <a:cubicBezTo>
                    <a:pt x="22" y="20"/>
                    <a:pt x="22" y="20"/>
                    <a:pt x="22" y="20"/>
                  </a:cubicBezTo>
                  <a:cubicBezTo>
                    <a:pt x="17" y="26"/>
                    <a:pt x="17" y="26"/>
                    <a:pt x="17" y="26"/>
                  </a:cubicBezTo>
                  <a:cubicBezTo>
                    <a:pt x="16" y="26"/>
                    <a:pt x="16" y="26"/>
                    <a:pt x="16" y="26"/>
                  </a:cubicBezTo>
                  <a:cubicBezTo>
                    <a:pt x="4" y="54"/>
                    <a:pt x="4" y="54"/>
                    <a:pt x="4" y="54"/>
                  </a:cubicBezTo>
                  <a:cubicBezTo>
                    <a:pt x="2" y="58"/>
                    <a:pt x="0" y="62"/>
                    <a:pt x="0" y="67"/>
                  </a:cubicBezTo>
                  <a:close/>
                  <a:moveTo>
                    <a:pt x="22" y="85"/>
                  </a:moveTo>
                  <a:cubicBezTo>
                    <a:pt x="12" y="85"/>
                    <a:pt x="4" y="77"/>
                    <a:pt x="4" y="67"/>
                  </a:cubicBezTo>
                  <a:cubicBezTo>
                    <a:pt x="4" y="57"/>
                    <a:pt x="12" y="49"/>
                    <a:pt x="22" y="49"/>
                  </a:cubicBezTo>
                  <a:cubicBezTo>
                    <a:pt x="32" y="49"/>
                    <a:pt x="40" y="57"/>
                    <a:pt x="40" y="67"/>
                  </a:cubicBezTo>
                  <a:cubicBezTo>
                    <a:pt x="40" y="77"/>
                    <a:pt x="32" y="85"/>
                    <a:pt x="22" y="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1" name="Freeform 100">
              <a:extLst>
                <a:ext uri="{FF2B5EF4-FFF2-40B4-BE49-F238E27FC236}">
                  <a16:creationId xmlns:a16="http://schemas.microsoft.com/office/drawing/2014/main" xmlns="" id="{74F4F6BB-D443-4133-9FAB-C8174EE695B8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7138" y="4181475"/>
              <a:ext cx="58738" cy="60325"/>
            </a:xfrm>
            <a:custGeom>
              <a:avLst/>
              <a:gdLst>
                <a:gd name="T0" fmla="*/ 14 w 16"/>
                <a:gd name="T1" fmla="*/ 4 h 16"/>
                <a:gd name="T2" fmla="*/ 16 w 16"/>
                <a:gd name="T3" fmla="*/ 2 h 16"/>
                <a:gd name="T4" fmla="*/ 14 w 16"/>
                <a:gd name="T5" fmla="*/ 0 h 16"/>
                <a:gd name="T6" fmla="*/ 0 w 16"/>
                <a:gd name="T7" fmla="*/ 14 h 16"/>
                <a:gd name="T8" fmla="*/ 2 w 16"/>
                <a:gd name="T9" fmla="*/ 16 h 16"/>
                <a:gd name="T10" fmla="*/ 4 w 16"/>
                <a:gd name="T11" fmla="*/ 14 h 16"/>
                <a:gd name="T12" fmla="*/ 14 w 16"/>
                <a:gd name="T13" fmla="*/ 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16">
                  <a:moveTo>
                    <a:pt x="14" y="4"/>
                  </a:moveTo>
                  <a:cubicBezTo>
                    <a:pt x="15" y="4"/>
                    <a:pt x="16" y="3"/>
                    <a:pt x="16" y="2"/>
                  </a:cubicBezTo>
                  <a:cubicBezTo>
                    <a:pt x="16" y="1"/>
                    <a:pt x="15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15"/>
                    <a:pt x="1" y="16"/>
                    <a:pt x="2" y="16"/>
                  </a:cubicBezTo>
                  <a:cubicBezTo>
                    <a:pt x="3" y="16"/>
                    <a:pt x="4" y="15"/>
                    <a:pt x="4" y="14"/>
                  </a:cubicBezTo>
                  <a:cubicBezTo>
                    <a:pt x="4" y="9"/>
                    <a:pt x="8" y="4"/>
                    <a:pt x="1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2" name="Freeform 101">
              <a:extLst>
                <a:ext uri="{FF2B5EF4-FFF2-40B4-BE49-F238E27FC236}">
                  <a16:creationId xmlns:a16="http://schemas.microsoft.com/office/drawing/2014/main" xmlns="" id="{B2F74434-F82C-4D30-A647-C045CF5706E6}"/>
                </a:ext>
              </a:extLst>
            </p:cNvPr>
            <p:cNvSpPr>
              <a:spLocks/>
            </p:cNvSpPr>
            <p:nvPr/>
          </p:nvSpPr>
          <p:spPr bwMode="auto">
            <a:xfrm>
              <a:off x="6502400" y="4181475"/>
              <a:ext cx="58738" cy="60325"/>
            </a:xfrm>
            <a:custGeom>
              <a:avLst/>
              <a:gdLst>
                <a:gd name="T0" fmla="*/ 14 w 16"/>
                <a:gd name="T1" fmla="*/ 4 h 16"/>
                <a:gd name="T2" fmla="*/ 16 w 16"/>
                <a:gd name="T3" fmla="*/ 2 h 16"/>
                <a:gd name="T4" fmla="*/ 14 w 16"/>
                <a:gd name="T5" fmla="*/ 0 h 16"/>
                <a:gd name="T6" fmla="*/ 0 w 16"/>
                <a:gd name="T7" fmla="*/ 14 h 16"/>
                <a:gd name="T8" fmla="*/ 2 w 16"/>
                <a:gd name="T9" fmla="*/ 16 h 16"/>
                <a:gd name="T10" fmla="*/ 4 w 16"/>
                <a:gd name="T11" fmla="*/ 14 h 16"/>
                <a:gd name="T12" fmla="*/ 14 w 16"/>
                <a:gd name="T13" fmla="*/ 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16">
                  <a:moveTo>
                    <a:pt x="14" y="4"/>
                  </a:moveTo>
                  <a:cubicBezTo>
                    <a:pt x="15" y="4"/>
                    <a:pt x="16" y="3"/>
                    <a:pt x="16" y="2"/>
                  </a:cubicBezTo>
                  <a:cubicBezTo>
                    <a:pt x="16" y="1"/>
                    <a:pt x="15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15"/>
                    <a:pt x="1" y="16"/>
                    <a:pt x="2" y="16"/>
                  </a:cubicBezTo>
                  <a:cubicBezTo>
                    <a:pt x="3" y="16"/>
                    <a:pt x="4" y="15"/>
                    <a:pt x="4" y="14"/>
                  </a:cubicBezTo>
                  <a:cubicBezTo>
                    <a:pt x="4" y="9"/>
                    <a:pt x="8" y="4"/>
                    <a:pt x="1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43" name="Group 142">
            <a:extLst>
              <a:ext uri="{FF2B5EF4-FFF2-40B4-BE49-F238E27FC236}">
                <a16:creationId xmlns:a16="http://schemas.microsoft.com/office/drawing/2014/main" xmlns="" id="{B555D204-04C0-4B5D-B9C5-B917520A9A2E}"/>
              </a:ext>
            </a:extLst>
          </p:cNvPr>
          <p:cNvGrpSpPr/>
          <p:nvPr/>
        </p:nvGrpSpPr>
        <p:grpSpPr>
          <a:xfrm>
            <a:off x="2274900" y="4402389"/>
            <a:ext cx="327603" cy="329045"/>
            <a:chOff x="8445501" y="1787525"/>
            <a:chExt cx="360363" cy="361950"/>
          </a:xfrm>
          <a:solidFill>
            <a:schemeClr val="bg1"/>
          </a:solidFill>
        </p:grpSpPr>
        <p:sp>
          <p:nvSpPr>
            <p:cNvPr id="144" name="Freeform 311">
              <a:extLst>
                <a:ext uri="{FF2B5EF4-FFF2-40B4-BE49-F238E27FC236}">
                  <a16:creationId xmlns:a16="http://schemas.microsoft.com/office/drawing/2014/main" xmlns="" id="{EE575B1A-F0D1-48C3-949C-EF7E39C3CFE4}"/>
                </a:ext>
              </a:extLst>
            </p:cNvPr>
            <p:cNvSpPr>
              <a:spLocks/>
            </p:cNvSpPr>
            <p:nvPr/>
          </p:nvSpPr>
          <p:spPr bwMode="auto">
            <a:xfrm>
              <a:off x="8489951" y="2089150"/>
              <a:ext cx="104775" cy="60325"/>
            </a:xfrm>
            <a:custGeom>
              <a:avLst/>
              <a:gdLst>
                <a:gd name="T0" fmla="*/ 26 w 28"/>
                <a:gd name="T1" fmla="*/ 0 h 16"/>
                <a:gd name="T2" fmla="*/ 24 w 28"/>
                <a:gd name="T3" fmla="*/ 0 h 16"/>
                <a:gd name="T4" fmla="*/ 4 w 28"/>
                <a:gd name="T5" fmla="*/ 0 h 16"/>
                <a:gd name="T6" fmla="*/ 2 w 28"/>
                <a:gd name="T7" fmla="*/ 0 h 16"/>
                <a:gd name="T8" fmla="*/ 0 w 28"/>
                <a:gd name="T9" fmla="*/ 2 h 16"/>
                <a:gd name="T10" fmla="*/ 0 w 28"/>
                <a:gd name="T11" fmla="*/ 14 h 16"/>
                <a:gd name="T12" fmla="*/ 2 w 28"/>
                <a:gd name="T13" fmla="*/ 16 h 16"/>
                <a:gd name="T14" fmla="*/ 26 w 28"/>
                <a:gd name="T15" fmla="*/ 16 h 16"/>
                <a:gd name="T16" fmla="*/ 28 w 28"/>
                <a:gd name="T17" fmla="*/ 14 h 16"/>
                <a:gd name="T18" fmla="*/ 28 w 28"/>
                <a:gd name="T19" fmla="*/ 2 h 16"/>
                <a:gd name="T20" fmla="*/ 26 w 28"/>
                <a:gd name="T21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" h="16">
                  <a:moveTo>
                    <a:pt x="26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1" y="16"/>
                    <a:pt x="2" y="16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7" y="16"/>
                    <a:pt x="28" y="15"/>
                    <a:pt x="28" y="14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8" y="1"/>
                    <a:pt x="27" y="0"/>
                    <a:pt x="2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5" name="Freeform 312">
              <a:extLst>
                <a:ext uri="{FF2B5EF4-FFF2-40B4-BE49-F238E27FC236}">
                  <a16:creationId xmlns:a16="http://schemas.microsoft.com/office/drawing/2014/main" xmlns="" id="{624547C3-1963-41BA-ADEA-2C0545F77647}"/>
                </a:ext>
              </a:extLst>
            </p:cNvPr>
            <p:cNvSpPr>
              <a:spLocks/>
            </p:cNvSpPr>
            <p:nvPr/>
          </p:nvSpPr>
          <p:spPr bwMode="auto">
            <a:xfrm>
              <a:off x="8445501" y="1882775"/>
              <a:ext cx="134938" cy="190500"/>
            </a:xfrm>
            <a:custGeom>
              <a:avLst/>
              <a:gdLst>
                <a:gd name="T0" fmla="*/ 15 w 36"/>
                <a:gd name="T1" fmla="*/ 51 h 51"/>
                <a:gd name="T2" fmla="*/ 36 w 36"/>
                <a:gd name="T3" fmla="*/ 51 h 51"/>
                <a:gd name="T4" fmla="*/ 36 w 36"/>
                <a:gd name="T5" fmla="*/ 39 h 51"/>
                <a:gd name="T6" fmla="*/ 36 w 36"/>
                <a:gd name="T7" fmla="*/ 38 h 51"/>
                <a:gd name="T8" fmla="*/ 30 w 36"/>
                <a:gd name="T9" fmla="*/ 22 h 51"/>
                <a:gd name="T10" fmla="*/ 22 w 36"/>
                <a:gd name="T11" fmla="*/ 19 h 51"/>
                <a:gd name="T12" fmla="*/ 19 w 36"/>
                <a:gd name="T13" fmla="*/ 27 h 51"/>
                <a:gd name="T14" fmla="*/ 20 w 36"/>
                <a:gd name="T15" fmla="*/ 33 h 51"/>
                <a:gd name="T16" fmla="*/ 14 w 36"/>
                <a:gd name="T17" fmla="*/ 26 h 51"/>
                <a:gd name="T18" fmla="*/ 7 w 36"/>
                <a:gd name="T19" fmla="*/ 2 h 51"/>
                <a:gd name="T20" fmla="*/ 1 w 36"/>
                <a:gd name="T21" fmla="*/ 1 h 51"/>
                <a:gd name="T22" fmla="*/ 0 w 36"/>
                <a:gd name="T23" fmla="*/ 3 h 51"/>
                <a:gd name="T24" fmla="*/ 0 w 36"/>
                <a:gd name="T25" fmla="*/ 35 h 51"/>
                <a:gd name="T26" fmla="*/ 1 w 36"/>
                <a:gd name="T27" fmla="*/ 37 h 51"/>
                <a:gd name="T28" fmla="*/ 15 w 36"/>
                <a:gd name="T29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6" h="51">
                  <a:moveTo>
                    <a:pt x="15" y="51"/>
                  </a:moveTo>
                  <a:cubicBezTo>
                    <a:pt x="36" y="51"/>
                    <a:pt x="36" y="51"/>
                    <a:pt x="36" y="51"/>
                  </a:cubicBezTo>
                  <a:cubicBezTo>
                    <a:pt x="36" y="39"/>
                    <a:pt x="36" y="39"/>
                    <a:pt x="36" y="39"/>
                  </a:cubicBezTo>
                  <a:cubicBezTo>
                    <a:pt x="36" y="39"/>
                    <a:pt x="36" y="39"/>
                    <a:pt x="36" y="38"/>
                  </a:cubicBezTo>
                  <a:cubicBezTo>
                    <a:pt x="36" y="38"/>
                    <a:pt x="32" y="26"/>
                    <a:pt x="30" y="22"/>
                  </a:cubicBezTo>
                  <a:cubicBezTo>
                    <a:pt x="28" y="19"/>
                    <a:pt x="24" y="18"/>
                    <a:pt x="22" y="19"/>
                  </a:cubicBezTo>
                  <a:cubicBezTo>
                    <a:pt x="20" y="20"/>
                    <a:pt x="18" y="23"/>
                    <a:pt x="19" y="27"/>
                  </a:cubicBezTo>
                  <a:cubicBezTo>
                    <a:pt x="20" y="33"/>
                    <a:pt x="20" y="33"/>
                    <a:pt x="20" y="33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13"/>
                    <a:pt x="12" y="5"/>
                    <a:pt x="7" y="2"/>
                  </a:cubicBezTo>
                  <a:cubicBezTo>
                    <a:pt x="4" y="0"/>
                    <a:pt x="2" y="1"/>
                    <a:pt x="1" y="1"/>
                  </a:cubicBezTo>
                  <a:cubicBezTo>
                    <a:pt x="1" y="1"/>
                    <a:pt x="0" y="2"/>
                    <a:pt x="0" y="3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6"/>
                    <a:pt x="0" y="36"/>
                    <a:pt x="1" y="37"/>
                  </a:cubicBezTo>
                  <a:cubicBezTo>
                    <a:pt x="4" y="39"/>
                    <a:pt x="12" y="48"/>
                    <a:pt x="15" y="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6" name="Freeform 313">
              <a:extLst>
                <a:ext uri="{FF2B5EF4-FFF2-40B4-BE49-F238E27FC236}">
                  <a16:creationId xmlns:a16="http://schemas.microsoft.com/office/drawing/2014/main" xmlns="" id="{1543A691-F907-4EA9-BA06-783EB45A8ED5}"/>
                </a:ext>
              </a:extLst>
            </p:cNvPr>
            <p:cNvSpPr>
              <a:spLocks/>
            </p:cNvSpPr>
            <p:nvPr/>
          </p:nvSpPr>
          <p:spPr bwMode="auto">
            <a:xfrm>
              <a:off x="8655051" y="2089150"/>
              <a:ext cx="104775" cy="60325"/>
            </a:xfrm>
            <a:custGeom>
              <a:avLst/>
              <a:gdLst>
                <a:gd name="T0" fmla="*/ 26 w 28"/>
                <a:gd name="T1" fmla="*/ 0 h 16"/>
                <a:gd name="T2" fmla="*/ 24 w 28"/>
                <a:gd name="T3" fmla="*/ 0 h 16"/>
                <a:gd name="T4" fmla="*/ 4 w 28"/>
                <a:gd name="T5" fmla="*/ 0 h 16"/>
                <a:gd name="T6" fmla="*/ 2 w 28"/>
                <a:gd name="T7" fmla="*/ 0 h 16"/>
                <a:gd name="T8" fmla="*/ 0 w 28"/>
                <a:gd name="T9" fmla="*/ 2 h 16"/>
                <a:gd name="T10" fmla="*/ 0 w 28"/>
                <a:gd name="T11" fmla="*/ 14 h 16"/>
                <a:gd name="T12" fmla="*/ 2 w 28"/>
                <a:gd name="T13" fmla="*/ 16 h 16"/>
                <a:gd name="T14" fmla="*/ 26 w 28"/>
                <a:gd name="T15" fmla="*/ 16 h 16"/>
                <a:gd name="T16" fmla="*/ 28 w 28"/>
                <a:gd name="T17" fmla="*/ 14 h 16"/>
                <a:gd name="T18" fmla="*/ 28 w 28"/>
                <a:gd name="T19" fmla="*/ 2 h 16"/>
                <a:gd name="T20" fmla="*/ 26 w 28"/>
                <a:gd name="T21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" h="16">
                  <a:moveTo>
                    <a:pt x="26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1" y="16"/>
                    <a:pt x="2" y="16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7" y="16"/>
                    <a:pt x="28" y="15"/>
                    <a:pt x="28" y="14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8" y="1"/>
                    <a:pt x="27" y="0"/>
                    <a:pt x="2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7" name="Freeform 314">
              <a:extLst>
                <a:ext uri="{FF2B5EF4-FFF2-40B4-BE49-F238E27FC236}">
                  <a16:creationId xmlns:a16="http://schemas.microsoft.com/office/drawing/2014/main" xmlns="" id="{CF4CB9CA-B76E-4B1D-9EC9-10E9F0A83493}"/>
                </a:ext>
              </a:extLst>
            </p:cNvPr>
            <p:cNvSpPr>
              <a:spLocks/>
            </p:cNvSpPr>
            <p:nvPr/>
          </p:nvSpPr>
          <p:spPr bwMode="auto">
            <a:xfrm>
              <a:off x="8670926" y="1882775"/>
              <a:ext cx="134938" cy="190500"/>
            </a:xfrm>
            <a:custGeom>
              <a:avLst/>
              <a:gdLst>
                <a:gd name="T0" fmla="*/ 35 w 36"/>
                <a:gd name="T1" fmla="*/ 1 h 51"/>
                <a:gd name="T2" fmla="*/ 29 w 36"/>
                <a:gd name="T3" fmla="*/ 2 h 51"/>
                <a:gd name="T4" fmla="*/ 22 w 36"/>
                <a:gd name="T5" fmla="*/ 26 h 51"/>
                <a:gd name="T6" fmla="*/ 16 w 36"/>
                <a:gd name="T7" fmla="*/ 33 h 51"/>
                <a:gd name="T8" fmla="*/ 17 w 36"/>
                <a:gd name="T9" fmla="*/ 27 h 51"/>
                <a:gd name="T10" fmla="*/ 14 w 36"/>
                <a:gd name="T11" fmla="*/ 19 h 51"/>
                <a:gd name="T12" fmla="*/ 6 w 36"/>
                <a:gd name="T13" fmla="*/ 22 h 51"/>
                <a:gd name="T14" fmla="*/ 0 w 36"/>
                <a:gd name="T15" fmla="*/ 38 h 51"/>
                <a:gd name="T16" fmla="*/ 0 w 36"/>
                <a:gd name="T17" fmla="*/ 39 h 51"/>
                <a:gd name="T18" fmla="*/ 0 w 36"/>
                <a:gd name="T19" fmla="*/ 51 h 51"/>
                <a:gd name="T20" fmla="*/ 21 w 36"/>
                <a:gd name="T21" fmla="*/ 51 h 51"/>
                <a:gd name="T22" fmla="*/ 35 w 36"/>
                <a:gd name="T23" fmla="*/ 36 h 51"/>
                <a:gd name="T24" fmla="*/ 36 w 36"/>
                <a:gd name="T25" fmla="*/ 35 h 51"/>
                <a:gd name="T26" fmla="*/ 36 w 36"/>
                <a:gd name="T27" fmla="*/ 3 h 51"/>
                <a:gd name="T28" fmla="*/ 35 w 36"/>
                <a:gd name="T29" fmla="*/ 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6" h="51">
                  <a:moveTo>
                    <a:pt x="35" y="1"/>
                  </a:moveTo>
                  <a:cubicBezTo>
                    <a:pt x="34" y="1"/>
                    <a:pt x="32" y="0"/>
                    <a:pt x="29" y="2"/>
                  </a:cubicBezTo>
                  <a:cubicBezTo>
                    <a:pt x="24" y="5"/>
                    <a:pt x="22" y="13"/>
                    <a:pt x="22" y="26"/>
                  </a:cubicBezTo>
                  <a:cubicBezTo>
                    <a:pt x="16" y="33"/>
                    <a:pt x="16" y="33"/>
                    <a:pt x="16" y="33"/>
                  </a:cubicBezTo>
                  <a:cubicBezTo>
                    <a:pt x="17" y="27"/>
                    <a:pt x="17" y="27"/>
                    <a:pt x="17" y="27"/>
                  </a:cubicBezTo>
                  <a:cubicBezTo>
                    <a:pt x="18" y="23"/>
                    <a:pt x="16" y="20"/>
                    <a:pt x="14" y="19"/>
                  </a:cubicBezTo>
                  <a:cubicBezTo>
                    <a:pt x="12" y="18"/>
                    <a:pt x="8" y="19"/>
                    <a:pt x="6" y="22"/>
                  </a:cubicBezTo>
                  <a:cubicBezTo>
                    <a:pt x="4" y="26"/>
                    <a:pt x="0" y="38"/>
                    <a:pt x="0" y="38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21" y="51"/>
                    <a:pt x="21" y="51"/>
                    <a:pt x="21" y="51"/>
                  </a:cubicBezTo>
                  <a:cubicBezTo>
                    <a:pt x="24" y="48"/>
                    <a:pt x="33" y="39"/>
                    <a:pt x="35" y="36"/>
                  </a:cubicBezTo>
                  <a:cubicBezTo>
                    <a:pt x="36" y="36"/>
                    <a:pt x="36" y="36"/>
                    <a:pt x="36" y="35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2"/>
                    <a:pt x="35" y="1"/>
                    <a:pt x="35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8" name="Freeform 315">
              <a:extLst>
                <a:ext uri="{FF2B5EF4-FFF2-40B4-BE49-F238E27FC236}">
                  <a16:creationId xmlns:a16="http://schemas.microsoft.com/office/drawing/2014/main" xmlns="" id="{D604A0A1-7B80-4D87-81D5-63F37523B798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9488" y="1863725"/>
              <a:ext cx="52388" cy="82550"/>
            </a:xfrm>
            <a:custGeom>
              <a:avLst/>
              <a:gdLst>
                <a:gd name="T0" fmla="*/ 33 w 33"/>
                <a:gd name="T1" fmla="*/ 0 h 52"/>
                <a:gd name="T2" fmla="*/ 0 w 33"/>
                <a:gd name="T3" fmla="*/ 0 h 52"/>
                <a:gd name="T4" fmla="*/ 16 w 33"/>
                <a:gd name="T5" fmla="*/ 52 h 52"/>
                <a:gd name="T6" fmla="*/ 33 w 33"/>
                <a:gd name="T7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3" h="52">
                  <a:moveTo>
                    <a:pt x="33" y="0"/>
                  </a:moveTo>
                  <a:lnTo>
                    <a:pt x="0" y="0"/>
                  </a:lnTo>
                  <a:lnTo>
                    <a:pt x="16" y="52"/>
                  </a:lnTo>
                  <a:lnTo>
                    <a:pt x="3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9" name="Freeform 316">
              <a:extLst>
                <a:ext uri="{FF2B5EF4-FFF2-40B4-BE49-F238E27FC236}">
                  <a16:creationId xmlns:a16="http://schemas.microsoft.com/office/drawing/2014/main" xmlns="" id="{0CE7C318-15AC-4666-8348-A81C8714578F}"/>
                </a:ext>
              </a:extLst>
            </p:cNvPr>
            <p:cNvSpPr>
              <a:spLocks/>
            </p:cNvSpPr>
            <p:nvPr/>
          </p:nvSpPr>
          <p:spPr bwMode="auto">
            <a:xfrm>
              <a:off x="8523288" y="1795463"/>
              <a:ext cx="53975" cy="52388"/>
            </a:xfrm>
            <a:custGeom>
              <a:avLst/>
              <a:gdLst>
                <a:gd name="T0" fmla="*/ 34 w 34"/>
                <a:gd name="T1" fmla="*/ 33 h 33"/>
                <a:gd name="T2" fmla="*/ 26 w 34"/>
                <a:gd name="T3" fmla="*/ 0 h 33"/>
                <a:gd name="T4" fmla="*/ 0 w 34"/>
                <a:gd name="T5" fmla="*/ 33 h 33"/>
                <a:gd name="T6" fmla="*/ 34 w 34"/>
                <a:gd name="T7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" h="33">
                  <a:moveTo>
                    <a:pt x="34" y="33"/>
                  </a:moveTo>
                  <a:lnTo>
                    <a:pt x="26" y="0"/>
                  </a:lnTo>
                  <a:lnTo>
                    <a:pt x="0" y="33"/>
                  </a:lnTo>
                  <a:lnTo>
                    <a:pt x="34" y="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0" name="Freeform 317">
              <a:extLst>
                <a:ext uri="{FF2B5EF4-FFF2-40B4-BE49-F238E27FC236}">
                  <a16:creationId xmlns:a16="http://schemas.microsoft.com/office/drawing/2014/main" xmlns="" id="{B45D99F1-6FF1-48AC-9C15-64E6CAD85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580438" y="1787525"/>
              <a:ext cx="90488" cy="60325"/>
            </a:xfrm>
            <a:custGeom>
              <a:avLst/>
              <a:gdLst>
                <a:gd name="T0" fmla="*/ 0 w 57"/>
                <a:gd name="T1" fmla="*/ 0 h 38"/>
                <a:gd name="T2" fmla="*/ 7 w 57"/>
                <a:gd name="T3" fmla="*/ 38 h 38"/>
                <a:gd name="T4" fmla="*/ 47 w 57"/>
                <a:gd name="T5" fmla="*/ 38 h 38"/>
                <a:gd name="T6" fmla="*/ 57 w 57"/>
                <a:gd name="T7" fmla="*/ 0 h 38"/>
                <a:gd name="T8" fmla="*/ 0 w 57"/>
                <a:gd name="T9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" h="38">
                  <a:moveTo>
                    <a:pt x="0" y="0"/>
                  </a:moveTo>
                  <a:lnTo>
                    <a:pt x="7" y="38"/>
                  </a:lnTo>
                  <a:lnTo>
                    <a:pt x="47" y="38"/>
                  </a:lnTo>
                  <a:lnTo>
                    <a:pt x="57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1" name="Freeform 318">
              <a:extLst>
                <a:ext uri="{FF2B5EF4-FFF2-40B4-BE49-F238E27FC236}">
                  <a16:creationId xmlns:a16="http://schemas.microsoft.com/office/drawing/2014/main" xmlns="" id="{7EEEEC5C-C37F-497C-BBFD-83B5D212FB4E}"/>
                </a:ext>
              </a:extLst>
            </p:cNvPr>
            <p:cNvSpPr>
              <a:spLocks/>
            </p:cNvSpPr>
            <p:nvPr/>
          </p:nvSpPr>
          <p:spPr bwMode="auto">
            <a:xfrm>
              <a:off x="8632826" y="1863725"/>
              <a:ext cx="93663" cy="104775"/>
            </a:xfrm>
            <a:custGeom>
              <a:avLst/>
              <a:gdLst>
                <a:gd name="T0" fmla="*/ 21 w 59"/>
                <a:gd name="T1" fmla="*/ 0 h 66"/>
                <a:gd name="T2" fmla="*/ 0 w 59"/>
                <a:gd name="T3" fmla="*/ 66 h 66"/>
                <a:gd name="T4" fmla="*/ 0 w 59"/>
                <a:gd name="T5" fmla="*/ 66 h 66"/>
                <a:gd name="T6" fmla="*/ 59 w 59"/>
                <a:gd name="T7" fmla="*/ 0 h 66"/>
                <a:gd name="T8" fmla="*/ 21 w 59"/>
                <a:gd name="T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66">
                  <a:moveTo>
                    <a:pt x="21" y="0"/>
                  </a:moveTo>
                  <a:lnTo>
                    <a:pt x="0" y="66"/>
                  </a:lnTo>
                  <a:lnTo>
                    <a:pt x="0" y="66"/>
                  </a:lnTo>
                  <a:lnTo>
                    <a:pt x="59" y="0"/>
                  </a:lnTo>
                  <a:lnTo>
                    <a:pt x="2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2" name="Freeform 319">
              <a:extLst>
                <a:ext uri="{FF2B5EF4-FFF2-40B4-BE49-F238E27FC236}">
                  <a16:creationId xmlns:a16="http://schemas.microsoft.com/office/drawing/2014/main" xmlns="" id="{D35D66BB-4AE5-4C1B-AE7D-42E97747984D}"/>
                </a:ext>
              </a:extLst>
            </p:cNvPr>
            <p:cNvSpPr>
              <a:spLocks/>
            </p:cNvSpPr>
            <p:nvPr/>
          </p:nvSpPr>
          <p:spPr bwMode="auto">
            <a:xfrm>
              <a:off x="8674101" y="1795463"/>
              <a:ext cx="52388" cy="52388"/>
            </a:xfrm>
            <a:custGeom>
              <a:avLst/>
              <a:gdLst>
                <a:gd name="T0" fmla="*/ 0 w 33"/>
                <a:gd name="T1" fmla="*/ 33 h 33"/>
                <a:gd name="T2" fmla="*/ 33 w 33"/>
                <a:gd name="T3" fmla="*/ 33 h 33"/>
                <a:gd name="T4" fmla="*/ 7 w 33"/>
                <a:gd name="T5" fmla="*/ 0 h 33"/>
                <a:gd name="T6" fmla="*/ 0 w 33"/>
                <a:gd name="T7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3" h="33">
                  <a:moveTo>
                    <a:pt x="0" y="33"/>
                  </a:moveTo>
                  <a:lnTo>
                    <a:pt x="33" y="33"/>
                  </a:lnTo>
                  <a:lnTo>
                    <a:pt x="7" y="0"/>
                  </a:lnTo>
                  <a:lnTo>
                    <a:pt x="0" y="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3" name="Freeform 320">
              <a:extLst>
                <a:ext uri="{FF2B5EF4-FFF2-40B4-BE49-F238E27FC236}">
                  <a16:creationId xmlns:a16="http://schemas.microsoft.com/office/drawing/2014/main" xmlns="" id="{E2CBDEE0-3B67-4015-80BE-5142BCBB7DD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23288" y="1863725"/>
              <a:ext cx="95250" cy="107950"/>
            </a:xfrm>
            <a:custGeom>
              <a:avLst/>
              <a:gdLst>
                <a:gd name="T0" fmla="*/ 60 w 60"/>
                <a:gd name="T1" fmla="*/ 66 h 68"/>
                <a:gd name="T2" fmla="*/ 36 w 60"/>
                <a:gd name="T3" fmla="*/ 0 h 68"/>
                <a:gd name="T4" fmla="*/ 0 w 60"/>
                <a:gd name="T5" fmla="*/ 0 h 68"/>
                <a:gd name="T6" fmla="*/ 60 w 60"/>
                <a:gd name="T7" fmla="*/ 68 h 68"/>
                <a:gd name="T8" fmla="*/ 60 w 60"/>
                <a:gd name="T9" fmla="*/ 66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68">
                  <a:moveTo>
                    <a:pt x="60" y="66"/>
                  </a:moveTo>
                  <a:lnTo>
                    <a:pt x="36" y="0"/>
                  </a:lnTo>
                  <a:lnTo>
                    <a:pt x="0" y="0"/>
                  </a:lnTo>
                  <a:lnTo>
                    <a:pt x="60" y="68"/>
                  </a:lnTo>
                  <a:lnTo>
                    <a:pt x="60" y="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58" name="Group 157">
            <a:extLst>
              <a:ext uri="{FF2B5EF4-FFF2-40B4-BE49-F238E27FC236}">
                <a16:creationId xmlns:a16="http://schemas.microsoft.com/office/drawing/2014/main" xmlns="" id="{BFF7EF15-49E0-4CF9-9549-D93231B13C6F}"/>
              </a:ext>
            </a:extLst>
          </p:cNvPr>
          <p:cNvGrpSpPr/>
          <p:nvPr/>
        </p:nvGrpSpPr>
        <p:grpSpPr>
          <a:xfrm>
            <a:off x="9455212" y="4051526"/>
            <a:ext cx="324715" cy="329046"/>
            <a:chOff x="5554663" y="723900"/>
            <a:chExt cx="357187" cy="361951"/>
          </a:xfrm>
          <a:solidFill>
            <a:schemeClr val="bg1"/>
          </a:solidFill>
        </p:grpSpPr>
        <p:sp>
          <p:nvSpPr>
            <p:cNvPr id="159" name="Freeform 68">
              <a:extLst>
                <a:ext uri="{FF2B5EF4-FFF2-40B4-BE49-F238E27FC236}">
                  <a16:creationId xmlns:a16="http://schemas.microsoft.com/office/drawing/2014/main" xmlns="" id="{62A6129B-E6CB-4B36-982D-977EA051A77E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4663" y="949325"/>
              <a:ext cx="131763" cy="136525"/>
            </a:xfrm>
            <a:custGeom>
              <a:avLst/>
              <a:gdLst>
                <a:gd name="T0" fmla="*/ 12 w 35"/>
                <a:gd name="T1" fmla="*/ 0 h 36"/>
                <a:gd name="T2" fmla="*/ 0 w 35"/>
                <a:gd name="T3" fmla="*/ 21 h 36"/>
                <a:gd name="T4" fmla="*/ 0 w 35"/>
                <a:gd name="T5" fmla="*/ 23 h 36"/>
                <a:gd name="T6" fmla="*/ 2 w 35"/>
                <a:gd name="T7" fmla="*/ 24 h 36"/>
                <a:gd name="T8" fmla="*/ 16 w 35"/>
                <a:gd name="T9" fmla="*/ 22 h 36"/>
                <a:gd name="T10" fmla="*/ 21 w 35"/>
                <a:gd name="T11" fmla="*/ 35 h 36"/>
                <a:gd name="T12" fmla="*/ 23 w 35"/>
                <a:gd name="T13" fmla="*/ 36 h 36"/>
                <a:gd name="T14" fmla="*/ 23 w 35"/>
                <a:gd name="T15" fmla="*/ 36 h 36"/>
                <a:gd name="T16" fmla="*/ 24 w 35"/>
                <a:gd name="T17" fmla="*/ 35 h 36"/>
                <a:gd name="T18" fmla="*/ 35 w 35"/>
                <a:gd name="T19" fmla="*/ 18 h 36"/>
                <a:gd name="T20" fmla="*/ 12 w 35"/>
                <a:gd name="T21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" h="36">
                  <a:moveTo>
                    <a:pt x="12" y="0"/>
                  </a:moveTo>
                  <a:cubicBezTo>
                    <a:pt x="0" y="21"/>
                    <a:pt x="0" y="21"/>
                    <a:pt x="0" y="21"/>
                  </a:cubicBezTo>
                  <a:cubicBezTo>
                    <a:pt x="0" y="22"/>
                    <a:pt x="0" y="22"/>
                    <a:pt x="0" y="23"/>
                  </a:cubicBezTo>
                  <a:cubicBezTo>
                    <a:pt x="1" y="24"/>
                    <a:pt x="2" y="24"/>
                    <a:pt x="2" y="24"/>
                  </a:cubicBezTo>
                  <a:cubicBezTo>
                    <a:pt x="16" y="22"/>
                    <a:pt x="16" y="22"/>
                    <a:pt x="16" y="22"/>
                  </a:cubicBezTo>
                  <a:cubicBezTo>
                    <a:pt x="21" y="35"/>
                    <a:pt x="21" y="35"/>
                    <a:pt x="21" y="35"/>
                  </a:cubicBezTo>
                  <a:cubicBezTo>
                    <a:pt x="21" y="35"/>
                    <a:pt x="22" y="36"/>
                    <a:pt x="23" y="36"/>
                  </a:cubicBezTo>
                  <a:cubicBezTo>
                    <a:pt x="23" y="36"/>
                    <a:pt x="23" y="36"/>
                    <a:pt x="23" y="36"/>
                  </a:cubicBezTo>
                  <a:cubicBezTo>
                    <a:pt x="23" y="36"/>
                    <a:pt x="24" y="36"/>
                    <a:pt x="24" y="35"/>
                  </a:cubicBezTo>
                  <a:cubicBezTo>
                    <a:pt x="35" y="18"/>
                    <a:pt x="35" y="18"/>
                    <a:pt x="35" y="18"/>
                  </a:cubicBezTo>
                  <a:cubicBezTo>
                    <a:pt x="25" y="15"/>
                    <a:pt x="17" y="8"/>
                    <a:pt x="1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60" name="Freeform 69">
              <a:extLst>
                <a:ext uri="{FF2B5EF4-FFF2-40B4-BE49-F238E27FC236}">
                  <a16:creationId xmlns:a16="http://schemas.microsoft.com/office/drawing/2014/main" xmlns="" id="{C2640178-D088-4486-90C4-0038E761D3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784850" y="954088"/>
              <a:ext cx="127000" cy="131763"/>
            </a:xfrm>
            <a:custGeom>
              <a:avLst/>
              <a:gdLst>
                <a:gd name="T0" fmla="*/ 34 w 34"/>
                <a:gd name="T1" fmla="*/ 20 h 35"/>
                <a:gd name="T2" fmla="*/ 22 w 34"/>
                <a:gd name="T3" fmla="*/ 0 h 35"/>
                <a:gd name="T4" fmla="*/ 0 w 34"/>
                <a:gd name="T5" fmla="*/ 17 h 35"/>
                <a:gd name="T6" fmla="*/ 10 w 34"/>
                <a:gd name="T7" fmla="*/ 34 h 35"/>
                <a:gd name="T8" fmla="*/ 12 w 34"/>
                <a:gd name="T9" fmla="*/ 35 h 35"/>
                <a:gd name="T10" fmla="*/ 12 w 34"/>
                <a:gd name="T11" fmla="*/ 35 h 35"/>
                <a:gd name="T12" fmla="*/ 13 w 34"/>
                <a:gd name="T13" fmla="*/ 34 h 35"/>
                <a:gd name="T14" fmla="*/ 18 w 34"/>
                <a:gd name="T15" fmla="*/ 21 h 35"/>
                <a:gd name="T16" fmla="*/ 32 w 34"/>
                <a:gd name="T17" fmla="*/ 23 h 35"/>
                <a:gd name="T18" fmla="*/ 34 w 34"/>
                <a:gd name="T19" fmla="*/ 22 h 35"/>
                <a:gd name="T20" fmla="*/ 34 w 34"/>
                <a:gd name="T21" fmla="*/ 2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4" h="35">
                  <a:moveTo>
                    <a:pt x="34" y="2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17" y="8"/>
                    <a:pt x="9" y="14"/>
                    <a:pt x="0" y="17"/>
                  </a:cubicBezTo>
                  <a:cubicBezTo>
                    <a:pt x="10" y="34"/>
                    <a:pt x="10" y="34"/>
                    <a:pt x="10" y="34"/>
                  </a:cubicBezTo>
                  <a:cubicBezTo>
                    <a:pt x="10" y="35"/>
                    <a:pt x="11" y="35"/>
                    <a:pt x="12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3" y="35"/>
                    <a:pt x="13" y="34"/>
                    <a:pt x="13" y="34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3" y="23"/>
                    <a:pt x="34" y="23"/>
                    <a:pt x="34" y="22"/>
                  </a:cubicBezTo>
                  <a:cubicBezTo>
                    <a:pt x="34" y="21"/>
                    <a:pt x="34" y="21"/>
                    <a:pt x="34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61" name="Freeform 70">
              <a:extLst>
                <a:ext uri="{FF2B5EF4-FFF2-40B4-BE49-F238E27FC236}">
                  <a16:creationId xmlns:a16="http://schemas.microsoft.com/office/drawing/2014/main" xmlns="" id="{8E9E3AFC-4178-4897-8AFB-0C082104177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92763" y="723900"/>
              <a:ext cx="285750" cy="285750"/>
            </a:xfrm>
            <a:custGeom>
              <a:avLst/>
              <a:gdLst>
                <a:gd name="T0" fmla="*/ 76 w 76"/>
                <a:gd name="T1" fmla="*/ 38 h 76"/>
                <a:gd name="T2" fmla="*/ 38 w 76"/>
                <a:gd name="T3" fmla="*/ 0 h 76"/>
                <a:gd name="T4" fmla="*/ 0 w 76"/>
                <a:gd name="T5" fmla="*/ 38 h 76"/>
                <a:gd name="T6" fmla="*/ 38 w 76"/>
                <a:gd name="T7" fmla="*/ 76 h 76"/>
                <a:gd name="T8" fmla="*/ 76 w 76"/>
                <a:gd name="T9" fmla="*/ 38 h 76"/>
                <a:gd name="T10" fmla="*/ 57 w 76"/>
                <a:gd name="T11" fmla="*/ 34 h 76"/>
                <a:gd name="T12" fmla="*/ 48 w 76"/>
                <a:gd name="T13" fmla="*/ 41 h 76"/>
                <a:gd name="T14" fmla="*/ 52 w 76"/>
                <a:gd name="T15" fmla="*/ 53 h 76"/>
                <a:gd name="T16" fmla="*/ 51 w 76"/>
                <a:gd name="T17" fmla="*/ 56 h 76"/>
                <a:gd name="T18" fmla="*/ 50 w 76"/>
                <a:gd name="T19" fmla="*/ 56 h 76"/>
                <a:gd name="T20" fmla="*/ 49 w 76"/>
                <a:gd name="T21" fmla="*/ 56 h 76"/>
                <a:gd name="T22" fmla="*/ 38 w 76"/>
                <a:gd name="T23" fmla="*/ 49 h 76"/>
                <a:gd name="T24" fmla="*/ 27 w 76"/>
                <a:gd name="T25" fmla="*/ 56 h 76"/>
                <a:gd name="T26" fmla="*/ 25 w 76"/>
                <a:gd name="T27" fmla="*/ 56 h 76"/>
                <a:gd name="T28" fmla="*/ 24 w 76"/>
                <a:gd name="T29" fmla="*/ 53 h 76"/>
                <a:gd name="T30" fmla="*/ 28 w 76"/>
                <a:gd name="T31" fmla="*/ 41 h 76"/>
                <a:gd name="T32" fmla="*/ 19 w 76"/>
                <a:gd name="T33" fmla="*/ 34 h 76"/>
                <a:gd name="T34" fmla="*/ 18 w 76"/>
                <a:gd name="T35" fmla="*/ 31 h 76"/>
                <a:gd name="T36" fmla="*/ 20 w 76"/>
                <a:gd name="T37" fmla="*/ 30 h 76"/>
                <a:gd name="T38" fmla="*/ 31 w 76"/>
                <a:gd name="T39" fmla="*/ 30 h 76"/>
                <a:gd name="T40" fmla="*/ 36 w 76"/>
                <a:gd name="T41" fmla="*/ 19 h 76"/>
                <a:gd name="T42" fmla="*/ 40 w 76"/>
                <a:gd name="T43" fmla="*/ 19 h 76"/>
                <a:gd name="T44" fmla="*/ 45 w 76"/>
                <a:gd name="T45" fmla="*/ 30 h 76"/>
                <a:gd name="T46" fmla="*/ 56 w 76"/>
                <a:gd name="T47" fmla="*/ 30 h 76"/>
                <a:gd name="T48" fmla="*/ 58 w 76"/>
                <a:gd name="T49" fmla="*/ 31 h 76"/>
                <a:gd name="T50" fmla="*/ 57 w 76"/>
                <a:gd name="T51" fmla="*/ 34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76" h="76">
                  <a:moveTo>
                    <a:pt x="76" y="38"/>
                  </a:moveTo>
                  <a:cubicBezTo>
                    <a:pt x="76" y="17"/>
                    <a:pt x="59" y="0"/>
                    <a:pt x="38" y="0"/>
                  </a:cubicBezTo>
                  <a:cubicBezTo>
                    <a:pt x="17" y="0"/>
                    <a:pt x="0" y="17"/>
                    <a:pt x="0" y="38"/>
                  </a:cubicBezTo>
                  <a:cubicBezTo>
                    <a:pt x="0" y="59"/>
                    <a:pt x="17" y="76"/>
                    <a:pt x="38" y="76"/>
                  </a:cubicBezTo>
                  <a:cubicBezTo>
                    <a:pt x="59" y="76"/>
                    <a:pt x="76" y="59"/>
                    <a:pt x="76" y="38"/>
                  </a:cubicBezTo>
                  <a:close/>
                  <a:moveTo>
                    <a:pt x="57" y="34"/>
                  </a:moveTo>
                  <a:cubicBezTo>
                    <a:pt x="48" y="41"/>
                    <a:pt x="48" y="41"/>
                    <a:pt x="48" y="41"/>
                  </a:cubicBezTo>
                  <a:cubicBezTo>
                    <a:pt x="52" y="53"/>
                    <a:pt x="52" y="53"/>
                    <a:pt x="52" y="53"/>
                  </a:cubicBezTo>
                  <a:cubicBezTo>
                    <a:pt x="52" y="54"/>
                    <a:pt x="52" y="55"/>
                    <a:pt x="51" y="56"/>
                  </a:cubicBezTo>
                  <a:cubicBezTo>
                    <a:pt x="51" y="56"/>
                    <a:pt x="50" y="56"/>
                    <a:pt x="50" y="56"/>
                  </a:cubicBezTo>
                  <a:cubicBezTo>
                    <a:pt x="50" y="56"/>
                    <a:pt x="49" y="56"/>
                    <a:pt x="49" y="56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27" y="56"/>
                    <a:pt x="27" y="56"/>
                    <a:pt x="27" y="56"/>
                  </a:cubicBezTo>
                  <a:cubicBezTo>
                    <a:pt x="26" y="56"/>
                    <a:pt x="25" y="56"/>
                    <a:pt x="25" y="56"/>
                  </a:cubicBezTo>
                  <a:cubicBezTo>
                    <a:pt x="24" y="55"/>
                    <a:pt x="24" y="54"/>
                    <a:pt x="24" y="53"/>
                  </a:cubicBezTo>
                  <a:cubicBezTo>
                    <a:pt x="28" y="41"/>
                    <a:pt x="28" y="41"/>
                    <a:pt x="28" y="41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8" y="33"/>
                    <a:pt x="18" y="32"/>
                    <a:pt x="18" y="31"/>
                  </a:cubicBezTo>
                  <a:cubicBezTo>
                    <a:pt x="18" y="31"/>
                    <a:pt x="19" y="30"/>
                    <a:pt x="20" y="30"/>
                  </a:cubicBezTo>
                  <a:cubicBezTo>
                    <a:pt x="31" y="30"/>
                    <a:pt x="31" y="30"/>
                    <a:pt x="31" y="30"/>
                  </a:cubicBezTo>
                  <a:cubicBezTo>
                    <a:pt x="36" y="19"/>
                    <a:pt x="36" y="19"/>
                    <a:pt x="36" y="19"/>
                  </a:cubicBezTo>
                  <a:cubicBezTo>
                    <a:pt x="37" y="18"/>
                    <a:pt x="39" y="18"/>
                    <a:pt x="40" y="19"/>
                  </a:cubicBezTo>
                  <a:cubicBezTo>
                    <a:pt x="45" y="30"/>
                    <a:pt x="45" y="30"/>
                    <a:pt x="45" y="30"/>
                  </a:cubicBezTo>
                  <a:cubicBezTo>
                    <a:pt x="56" y="30"/>
                    <a:pt x="56" y="30"/>
                    <a:pt x="56" y="30"/>
                  </a:cubicBezTo>
                  <a:cubicBezTo>
                    <a:pt x="57" y="30"/>
                    <a:pt x="58" y="31"/>
                    <a:pt x="58" y="31"/>
                  </a:cubicBezTo>
                  <a:cubicBezTo>
                    <a:pt x="58" y="32"/>
                    <a:pt x="58" y="33"/>
                    <a:pt x="57" y="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62" name="Group 161">
            <a:extLst>
              <a:ext uri="{FF2B5EF4-FFF2-40B4-BE49-F238E27FC236}">
                <a16:creationId xmlns:a16="http://schemas.microsoft.com/office/drawing/2014/main" xmlns="" id="{45AD351E-EBA7-4FBE-B32C-7492E0018423}"/>
              </a:ext>
            </a:extLst>
          </p:cNvPr>
          <p:cNvGrpSpPr/>
          <p:nvPr/>
        </p:nvGrpSpPr>
        <p:grpSpPr>
          <a:xfrm>
            <a:off x="8935778" y="1420247"/>
            <a:ext cx="300182" cy="327603"/>
            <a:chOff x="2670175" y="6494463"/>
            <a:chExt cx="330200" cy="360363"/>
          </a:xfrm>
          <a:solidFill>
            <a:schemeClr val="bg1"/>
          </a:solidFill>
        </p:grpSpPr>
        <p:sp>
          <p:nvSpPr>
            <p:cNvPr id="163" name="Freeform 94">
              <a:extLst>
                <a:ext uri="{FF2B5EF4-FFF2-40B4-BE49-F238E27FC236}">
                  <a16:creationId xmlns:a16="http://schemas.microsoft.com/office/drawing/2014/main" xmlns="" id="{8FDC14C7-CAC9-47B2-9ECF-CF503FAE8B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14625" y="6508750"/>
              <a:ext cx="285750" cy="241300"/>
            </a:xfrm>
            <a:custGeom>
              <a:avLst/>
              <a:gdLst>
                <a:gd name="T0" fmla="*/ 75 w 76"/>
                <a:gd name="T1" fmla="*/ 60 h 64"/>
                <a:gd name="T2" fmla="*/ 47 w 76"/>
                <a:gd name="T3" fmla="*/ 38 h 64"/>
                <a:gd name="T4" fmla="*/ 75 w 76"/>
                <a:gd name="T5" fmla="*/ 16 h 64"/>
                <a:gd name="T6" fmla="*/ 76 w 76"/>
                <a:gd name="T7" fmla="*/ 13 h 64"/>
                <a:gd name="T8" fmla="*/ 74 w 76"/>
                <a:gd name="T9" fmla="*/ 12 h 64"/>
                <a:gd name="T10" fmla="*/ 32 w 76"/>
                <a:gd name="T11" fmla="*/ 12 h 64"/>
                <a:gd name="T12" fmla="*/ 32 w 76"/>
                <a:gd name="T13" fmla="*/ 2 h 64"/>
                <a:gd name="T14" fmla="*/ 30 w 76"/>
                <a:gd name="T15" fmla="*/ 0 h 64"/>
                <a:gd name="T16" fmla="*/ 2 w 76"/>
                <a:gd name="T17" fmla="*/ 0 h 64"/>
                <a:gd name="T18" fmla="*/ 0 w 76"/>
                <a:gd name="T19" fmla="*/ 2 h 64"/>
                <a:gd name="T20" fmla="*/ 0 w 76"/>
                <a:gd name="T21" fmla="*/ 50 h 64"/>
                <a:gd name="T22" fmla="*/ 2 w 76"/>
                <a:gd name="T23" fmla="*/ 52 h 64"/>
                <a:gd name="T24" fmla="*/ 14 w 76"/>
                <a:gd name="T25" fmla="*/ 52 h 64"/>
                <a:gd name="T26" fmla="*/ 14 w 76"/>
                <a:gd name="T27" fmla="*/ 62 h 64"/>
                <a:gd name="T28" fmla="*/ 16 w 76"/>
                <a:gd name="T29" fmla="*/ 64 h 64"/>
                <a:gd name="T30" fmla="*/ 74 w 76"/>
                <a:gd name="T31" fmla="*/ 64 h 64"/>
                <a:gd name="T32" fmla="*/ 74 w 76"/>
                <a:gd name="T33" fmla="*/ 64 h 64"/>
                <a:gd name="T34" fmla="*/ 76 w 76"/>
                <a:gd name="T35" fmla="*/ 62 h 64"/>
                <a:gd name="T36" fmla="*/ 75 w 76"/>
                <a:gd name="T37" fmla="*/ 60 h 64"/>
                <a:gd name="T38" fmla="*/ 18 w 76"/>
                <a:gd name="T39" fmla="*/ 57 h 64"/>
                <a:gd name="T40" fmla="*/ 18 w 76"/>
                <a:gd name="T41" fmla="*/ 52 h 64"/>
                <a:gd name="T42" fmla="*/ 29 w 76"/>
                <a:gd name="T43" fmla="*/ 52 h 64"/>
                <a:gd name="T44" fmla="*/ 18 w 76"/>
                <a:gd name="T45" fmla="*/ 57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6" h="64">
                  <a:moveTo>
                    <a:pt x="75" y="60"/>
                  </a:moveTo>
                  <a:cubicBezTo>
                    <a:pt x="47" y="38"/>
                    <a:pt x="47" y="38"/>
                    <a:pt x="47" y="38"/>
                  </a:cubicBezTo>
                  <a:cubicBezTo>
                    <a:pt x="75" y="16"/>
                    <a:pt x="75" y="16"/>
                    <a:pt x="75" y="16"/>
                  </a:cubicBezTo>
                  <a:cubicBezTo>
                    <a:pt x="76" y="15"/>
                    <a:pt x="76" y="14"/>
                    <a:pt x="76" y="13"/>
                  </a:cubicBezTo>
                  <a:cubicBezTo>
                    <a:pt x="76" y="13"/>
                    <a:pt x="75" y="12"/>
                    <a:pt x="74" y="12"/>
                  </a:cubicBezTo>
                  <a:cubicBezTo>
                    <a:pt x="32" y="12"/>
                    <a:pt x="32" y="12"/>
                    <a:pt x="32" y="1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1"/>
                    <a:pt x="31" y="0"/>
                    <a:pt x="3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51"/>
                    <a:pt x="1" y="52"/>
                    <a:pt x="2" y="52"/>
                  </a:cubicBezTo>
                  <a:cubicBezTo>
                    <a:pt x="14" y="52"/>
                    <a:pt x="14" y="52"/>
                    <a:pt x="14" y="52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4" y="63"/>
                    <a:pt x="15" y="64"/>
                    <a:pt x="16" y="64"/>
                  </a:cubicBezTo>
                  <a:cubicBezTo>
                    <a:pt x="74" y="64"/>
                    <a:pt x="74" y="64"/>
                    <a:pt x="74" y="64"/>
                  </a:cubicBezTo>
                  <a:cubicBezTo>
                    <a:pt x="74" y="64"/>
                    <a:pt x="74" y="64"/>
                    <a:pt x="74" y="64"/>
                  </a:cubicBezTo>
                  <a:cubicBezTo>
                    <a:pt x="75" y="64"/>
                    <a:pt x="76" y="63"/>
                    <a:pt x="76" y="62"/>
                  </a:cubicBezTo>
                  <a:cubicBezTo>
                    <a:pt x="76" y="61"/>
                    <a:pt x="76" y="61"/>
                    <a:pt x="75" y="60"/>
                  </a:cubicBezTo>
                  <a:close/>
                  <a:moveTo>
                    <a:pt x="18" y="57"/>
                  </a:moveTo>
                  <a:cubicBezTo>
                    <a:pt x="18" y="52"/>
                    <a:pt x="18" y="52"/>
                    <a:pt x="18" y="52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24" y="54"/>
                    <a:pt x="20" y="56"/>
                    <a:pt x="18" y="5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64" name="Freeform 95">
              <a:extLst>
                <a:ext uri="{FF2B5EF4-FFF2-40B4-BE49-F238E27FC236}">
                  <a16:creationId xmlns:a16="http://schemas.microsoft.com/office/drawing/2014/main" xmlns="" id="{EF841FF3-54FD-4945-AE01-EA9A53538CBE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0175" y="6494463"/>
              <a:ext cx="30163" cy="360363"/>
            </a:xfrm>
            <a:custGeom>
              <a:avLst/>
              <a:gdLst>
                <a:gd name="T0" fmla="*/ 4 w 8"/>
                <a:gd name="T1" fmla="*/ 0 h 96"/>
                <a:gd name="T2" fmla="*/ 0 w 8"/>
                <a:gd name="T3" fmla="*/ 4 h 96"/>
                <a:gd name="T4" fmla="*/ 0 w 8"/>
                <a:gd name="T5" fmla="*/ 92 h 96"/>
                <a:gd name="T6" fmla="*/ 4 w 8"/>
                <a:gd name="T7" fmla="*/ 96 h 96"/>
                <a:gd name="T8" fmla="*/ 8 w 8"/>
                <a:gd name="T9" fmla="*/ 92 h 96"/>
                <a:gd name="T10" fmla="*/ 8 w 8"/>
                <a:gd name="T11" fmla="*/ 4 h 96"/>
                <a:gd name="T12" fmla="*/ 4 w 8"/>
                <a:gd name="T13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96">
                  <a:moveTo>
                    <a:pt x="4" y="0"/>
                  </a:moveTo>
                  <a:cubicBezTo>
                    <a:pt x="2" y="0"/>
                    <a:pt x="0" y="2"/>
                    <a:pt x="0" y="4"/>
                  </a:cubicBezTo>
                  <a:cubicBezTo>
                    <a:pt x="0" y="92"/>
                    <a:pt x="0" y="92"/>
                    <a:pt x="0" y="92"/>
                  </a:cubicBezTo>
                  <a:cubicBezTo>
                    <a:pt x="0" y="94"/>
                    <a:pt x="2" y="96"/>
                    <a:pt x="4" y="96"/>
                  </a:cubicBezTo>
                  <a:cubicBezTo>
                    <a:pt x="6" y="96"/>
                    <a:pt x="8" y="94"/>
                    <a:pt x="8" y="92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2"/>
                    <a:pt x="6" y="0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</p:spTree>
    <p:extLst>
      <p:ext uri="{BB962C8B-B14F-4D97-AF65-F5344CB8AC3E}">
        <p14:creationId xmlns:p14="http://schemas.microsoft.com/office/powerpoint/2010/main" val="294197420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0013EE6F-CF81-4D38-A75E-EFC145EB0C9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5" imgW="381" imgH="381" progId="TCLayout.ActiveDocument.1">
                  <p:embed/>
                </p:oleObj>
              </mc:Choice>
              <mc:Fallback>
                <p:oleObj name="think-cell Slide" r:id="rId5" imgW="381" imgH="38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Freeform: Shape 8">
            <a:extLst>
              <a:ext uri="{FF2B5EF4-FFF2-40B4-BE49-F238E27FC236}">
                <a16:creationId xmlns:a16="http://schemas.microsoft.com/office/drawing/2014/main" xmlns="" id="{8C9396D2-7F98-4C75-8C2B-C9AF919B23E3}"/>
              </a:ext>
            </a:extLst>
          </p:cNvPr>
          <p:cNvSpPr/>
          <p:nvPr/>
        </p:nvSpPr>
        <p:spPr>
          <a:xfrm rot="10800000">
            <a:off x="4895538" y="0"/>
            <a:ext cx="7296462" cy="6860810"/>
          </a:xfrm>
          <a:custGeom>
            <a:avLst/>
            <a:gdLst>
              <a:gd name="connsiteX0" fmla="*/ 7296463 w 7296462"/>
              <a:gd name="connsiteY0" fmla="*/ 6860811 h 6860810"/>
              <a:gd name="connsiteX1" fmla="*/ 6267763 w 7296462"/>
              <a:gd name="connsiteY1" fmla="*/ 5536992 h 6860810"/>
              <a:gd name="connsiteX2" fmla="*/ 5095719 w 7296462"/>
              <a:gd name="connsiteY2" fmla="*/ 3825303 h 6860810"/>
              <a:gd name="connsiteX3" fmla="*/ 2852816 w 7296462"/>
              <a:gd name="connsiteY3" fmla="*/ 1843790 h 6860810"/>
              <a:gd name="connsiteX4" fmla="*/ 677368 w 7296462"/>
              <a:gd name="connsiteY4" fmla="*/ 0 h 6860810"/>
              <a:gd name="connsiteX5" fmla="*/ 0 w 7296462"/>
              <a:gd name="connsiteY5" fmla="*/ 0 h 6860810"/>
              <a:gd name="connsiteX6" fmla="*/ 0 w 7296462"/>
              <a:gd name="connsiteY6" fmla="*/ 6860811 h 6860810"/>
              <a:gd name="connsiteX7" fmla="*/ 7296463 w 7296462"/>
              <a:gd name="connsiteY7" fmla="*/ 6860811 h 6860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296462" h="6860810">
                <a:moveTo>
                  <a:pt x="7296463" y="6860811"/>
                </a:moveTo>
                <a:cubicBezTo>
                  <a:pt x="7296463" y="6860811"/>
                  <a:pt x="6276195" y="6531964"/>
                  <a:pt x="6267763" y="5536992"/>
                </a:cubicBezTo>
                <a:cubicBezTo>
                  <a:pt x="6259330" y="4623529"/>
                  <a:pt x="5930484" y="4137285"/>
                  <a:pt x="5095719" y="3825303"/>
                </a:cubicBezTo>
                <a:cubicBezTo>
                  <a:pt x="4100747" y="3454296"/>
                  <a:pt x="3114207" y="3108585"/>
                  <a:pt x="2852816" y="1843790"/>
                </a:cubicBezTo>
                <a:cubicBezTo>
                  <a:pt x="2605478" y="646451"/>
                  <a:pt x="1995566" y="115237"/>
                  <a:pt x="677368" y="0"/>
                </a:cubicBezTo>
                <a:lnTo>
                  <a:pt x="0" y="0"/>
                </a:lnTo>
                <a:lnTo>
                  <a:pt x="0" y="6860811"/>
                </a:lnTo>
                <a:lnTo>
                  <a:pt x="7296463" y="6860811"/>
                </a:lnTo>
                <a:close/>
              </a:path>
            </a:pathLst>
          </a:custGeom>
          <a:solidFill>
            <a:srgbClr val="D3E3FF">
              <a:alpha val="30000"/>
            </a:srgbClr>
          </a:solidFill>
          <a:ln w="28107" cap="flat">
            <a:noFill/>
            <a:prstDash val="solid"/>
            <a:miter/>
          </a:ln>
        </p:spPr>
        <p:txBody>
          <a:bodyPr rtlCol="0" anchor="ctr"/>
          <a:lstStyle/>
          <a:p>
            <a:endParaRPr lang="en-ID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xmlns="" id="{361AD817-20E2-4737-83C3-F813122F6E7B}"/>
              </a:ext>
            </a:extLst>
          </p:cNvPr>
          <p:cNvSpPr/>
          <p:nvPr/>
        </p:nvSpPr>
        <p:spPr>
          <a:xfrm rot="10800000">
            <a:off x="0" y="1026584"/>
            <a:ext cx="6905524" cy="5834225"/>
          </a:xfrm>
          <a:custGeom>
            <a:avLst/>
            <a:gdLst>
              <a:gd name="connsiteX0" fmla="*/ 6444834 w 6444834"/>
              <a:gd name="connsiteY0" fmla="*/ 5435808 h 5445005"/>
              <a:gd name="connsiteX1" fmla="*/ 4567316 w 6444834"/>
              <a:gd name="connsiteY1" fmla="*/ 3853409 h 5445005"/>
              <a:gd name="connsiteX2" fmla="*/ 2627963 w 6444834"/>
              <a:gd name="connsiteY2" fmla="*/ 1582399 h 5445005"/>
              <a:gd name="connsiteX3" fmla="*/ 0 w 6444834"/>
              <a:gd name="connsiteY3" fmla="*/ 0 h 5445005"/>
              <a:gd name="connsiteX4" fmla="*/ 6444834 w 6444834"/>
              <a:gd name="connsiteY4" fmla="*/ 0 h 5445005"/>
              <a:gd name="connsiteX5" fmla="*/ 6444834 w 6444834"/>
              <a:gd name="connsiteY5" fmla="*/ 5435808 h 5445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444834" h="5445005">
                <a:moveTo>
                  <a:pt x="6444834" y="5435808"/>
                </a:moveTo>
                <a:cubicBezTo>
                  <a:pt x="6444834" y="5435808"/>
                  <a:pt x="5281222" y="5663472"/>
                  <a:pt x="4567316" y="3853409"/>
                </a:cubicBezTo>
                <a:cubicBezTo>
                  <a:pt x="3853409" y="2043347"/>
                  <a:pt x="3724119" y="1992755"/>
                  <a:pt x="2627963" y="1582399"/>
                </a:cubicBezTo>
                <a:cubicBezTo>
                  <a:pt x="1531807" y="1172044"/>
                  <a:pt x="663315" y="1146748"/>
                  <a:pt x="0" y="0"/>
                </a:cubicBezTo>
                <a:lnTo>
                  <a:pt x="6444834" y="0"/>
                </a:lnTo>
                <a:lnTo>
                  <a:pt x="6444834" y="5435808"/>
                </a:lnTo>
                <a:close/>
              </a:path>
            </a:pathLst>
          </a:custGeom>
          <a:solidFill>
            <a:srgbClr val="FFD966"/>
          </a:solidFill>
          <a:ln w="28107" cap="flat">
            <a:noFill/>
            <a:prstDash val="solid"/>
            <a:miter/>
          </a:ln>
        </p:spPr>
        <p:txBody>
          <a:bodyPr rtlCol="0" anchor="ctr"/>
          <a:lstStyle/>
          <a:p>
            <a:endParaRPr lang="en-ID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xmlns="" id="{3155DCF4-D55D-430E-B488-F5D8EAFA8609}"/>
              </a:ext>
            </a:extLst>
          </p:cNvPr>
          <p:cNvSpPr/>
          <p:nvPr/>
        </p:nvSpPr>
        <p:spPr>
          <a:xfrm rot="16200000" flipH="1">
            <a:off x="10859809" y="-97318"/>
            <a:ext cx="1234871" cy="1429509"/>
          </a:xfrm>
          <a:custGeom>
            <a:avLst/>
            <a:gdLst>
              <a:gd name="connsiteX0" fmla="*/ 1604884 w 1604884"/>
              <a:gd name="connsiteY0" fmla="*/ 1857844 h 1857843"/>
              <a:gd name="connsiteX1" fmla="*/ 789794 w 1604884"/>
              <a:gd name="connsiteY1" fmla="*/ 1037132 h 1857843"/>
              <a:gd name="connsiteX2" fmla="*/ 0 w 1604884"/>
              <a:gd name="connsiteY2" fmla="*/ 0 h 1857843"/>
              <a:gd name="connsiteX3" fmla="*/ 0 w 1604884"/>
              <a:gd name="connsiteY3" fmla="*/ 1857844 h 1857843"/>
              <a:gd name="connsiteX4" fmla="*/ 1604884 w 1604884"/>
              <a:gd name="connsiteY4" fmla="*/ 1857844 h 18578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04884" h="1857843">
                <a:moveTo>
                  <a:pt x="1604884" y="1857844"/>
                </a:moveTo>
                <a:cubicBezTo>
                  <a:pt x="1604884" y="1857844"/>
                  <a:pt x="1604884" y="1453109"/>
                  <a:pt x="789794" y="1037132"/>
                </a:cubicBezTo>
                <a:cubicBezTo>
                  <a:pt x="300740" y="789794"/>
                  <a:pt x="0" y="0"/>
                  <a:pt x="0" y="0"/>
                </a:cubicBezTo>
                <a:lnTo>
                  <a:pt x="0" y="1857844"/>
                </a:lnTo>
                <a:lnTo>
                  <a:pt x="1604884" y="1857844"/>
                </a:lnTo>
                <a:close/>
              </a:path>
            </a:pathLst>
          </a:custGeom>
          <a:solidFill>
            <a:srgbClr val="4399FF"/>
          </a:solidFill>
          <a:ln w="33311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ID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xmlns="" id="{AA869FC6-F644-4336-9AEA-9FC12D950DC7}"/>
              </a:ext>
            </a:extLst>
          </p:cNvPr>
          <p:cNvSpPr/>
          <p:nvPr/>
        </p:nvSpPr>
        <p:spPr>
          <a:xfrm rot="10800000">
            <a:off x="0" y="5273686"/>
            <a:ext cx="1837944" cy="1587123"/>
          </a:xfrm>
          <a:custGeom>
            <a:avLst/>
            <a:gdLst>
              <a:gd name="connsiteX0" fmla="*/ 2450892 w 2450892"/>
              <a:gd name="connsiteY0" fmla="*/ 2116424 h 2116423"/>
              <a:gd name="connsiteX1" fmla="*/ 1368790 w 2450892"/>
              <a:gd name="connsiteY1" fmla="*/ 1039943 h 2116423"/>
              <a:gd name="connsiteX2" fmla="*/ 0 w 2450892"/>
              <a:gd name="connsiteY2" fmla="*/ 0 h 2116423"/>
              <a:gd name="connsiteX3" fmla="*/ 2450892 w 2450892"/>
              <a:gd name="connsiteY3" fmla="*/ 0 h 2116423"/>
              <a:gd name="connsiteX4" fmla="*/ 2450892 w 2450892"/>
              <a:gd name="connsiteY4" fmla="*/ 2116424 h 2116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50892" h="2116423">
                <a:moveTo>
                  <a:pt x="2450892" y="2116424"/>
                </a:moveTo>
                <a:cubicBezTo>
                  <a:pt x="2450892" y="2116424"/>
                  <a:pt x="1914057" y="2116424"/>
                  <a:pt x="1368790" y="1039943"/>
                </a:cubicBezTo>
                <a:cubicBezTo>
                  <a:pt x="1039943" y="396302"/>
                  <a:pt x="0" y="0"/>
                  <a:pt x="0" y="0"/>
                </a:cubicBezTo>
                <a:lnTo>
                  <a:pt x="2450892" y="0"/>
                </a:lnTo>
                <a:lnTo>
                  <a:pt x="2450892" y="2116424"/>
                </a:lnTo>
                <a:close/>
              </a:path>
            </a:pathLst>
          </a:custGeom>
          <a:solidFill>
            <a:srgbClr val="D3E3FF"/>
          </a:solidFill>
          <a:ln w="28107" cap="flat">
            <a:noFill/>
            <a:prstDash val="solid"/>
            <a:miter/>
          </a:ln>
        </p:spPr>
        <p:txBody>
          <a:bodyPr rtlCol="0" anchor="ctr"/>
          <a:lstStyle/>
          <a:p>
            <a:endParaRPr lang="en-ID"/>
          </a:p>
        </p:txBody>
      </p:sp>
      <p:pic>
        <p:nvPicPr>
          <p:cNvPr id="35" name="Graphic 34">
            <a:extLst>
              <a:ext uri="{FF2B5EF4-FFF2-40B4-BE49-F238E27FC236}">
                <a16:creationId xmlns:a16="http://schemas.microsoft.com/office/drawing/2014/main" xmlns="" id="{630EC96E-A190-4F03-8A5B-E277B076D0B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4405471" y="0"/>
            <a:ext cx="685245" cy="1370490"/>
          </a:xfrm>
          <a:prstGeom prst="rect">
            <a:avLst/>
          </a:prstGeom>
        </p:spPr>
      </p:pic>
      <p:pic>
        <p:nvPicPr>
          <p:cNvPr id="36" name="Graphic 35">
            <a:extLst>
              <a:ext uri="{FF2B5EF4-FFF2-40B4-BE49-F238E27FC236}">
                <a16:creationId xmlns:a16="http://schemas.microsoft.com/office/drawing/2014/main" xmlns="" id="{0AB436E5-F32B-483A-81E4-7593E89AA8F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2249348" y="0"/>
            <a:ext cx="685245" cy="1370490"/>
          </a:xfrm>
          <a:prstGeom prst="rect">
            <a:avLst/>
          </a:prstGeom>
        </p:spPr>
      </p:pic>
      <p:pic>
        <p:nvPicPr>
          <p:cNvPr id="41" name="Graphic 40">
            <a:extLst>
              <a:ext uri="{FF2B5EF4-FFF2-40B4-BE49-F238E27FC236}">
                <a16:creationId xmlns:a16="http://schemas.microsoft.com/office/drawing/2014/main" xmlns="" id="{76A075C5-39A7-48DF-9375-DA844955E24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>
            <a:off x="3931758" y="4381543"/>
            <a:ext cx="534028" cy="1635461"/>
          </a:xfrm>
          <a:prstGeom prst="rect">
            <a:avLst/>
          </a:prstGeom>
        </p:spPr>
      </p:pic>
      <p:pic>
        <p:nvPicPr>
          <p:cNvPr id="40" name="Graphic 39">
            <a:extLst>
              <a:ext uri="{FF2B5EF4-FFF2-40B4-BE49-F238E27FC236}">
                <a16:creationId xmlns:a16="http://schemas.microsoft.com/office/drawing/2014/main" xmlns="" id="{E558F3B0-1108-482B-BCF8-16FF161BEB9D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xmlns="" r:embed="rId12"/>
              </a:ext>
            </a:extLst>
          </a:blip>
          <a:stretch>
            <a:fillRect/>
          </a:stretch>
        </p:blipFill>
        <p:spPr>
          <a:xfrm>
            <a:off x="5702151" y="4520306"/>
            <a:ext cx="762032" cy="1509952"/>
          </a:xfrm>
          <a:prstGeom prst="rect">
            <a:avLst/>
          </a:prstGeom>
        </p:spPr>
      </p:pic>
      <p:sp>
        <p:nvSpPr>
          <p:cNvPr id="22" name="Teardrop 21">
            <a:extLst>
              <a:ext uri="{FF2B5EF4-FFF2-40B4-BE49-F238E27FC236}">
                <a16:creationId xmlns:a16="http://schemas.microsoft.com/office/drawing/2014/main" xmlns="" id="{D706A01C-D425-4CE4-9A63-3ADA7F878753}"/>
              </a:ext>
            </a:extLst>
          </p:cNvPr>
          <p:cNvSpPr/>
          <p:nvPr/>
        </p:nvSpPr>
        <p:spPr>
          <a:xfrm rot="2700000">
            <a:off x="6894704" y="4263133"/>
            <a:ext cx="514350" cy="514350"/>
          </a:xfrm>
          <a:prstGeom prst="teardrop">
            <a:avLst/>
          </a:prstGeom>
          <a:solidFill>
            <a:srgbClr val="4399FF"/>
          </a:solidFill>
          <a:ln w="33311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ID"/>
          </a:p>
        </p:txBody>
      </p:sp>
      <p:sp>
        <p:nvSpPr>
          <p:cNvPr id="23" name="Teardrop 22">
            <a:extLst>
              <a:ext uri="{FF2B5EF4-FFF2-40B4-BE49-F238E27FC236}">
                <a16:creationId xmlns:a16="http://schemas.microsoft.com/office/drawing/2014/main" xmlns="" id="{7EFD9EEA-B888-4D0A-8DD0-AF141E16EB50}"/>
              </a:ext>
            </a:extLst>
          </p:cNvPr>
          <p:cNvSpPr/>
          <p:nvPr/>
        </p:nvSpPr>
        <p:spPr>
          <a:xfrm rot="2700000">
            <a:off x="6894704" y="4916224"/>
            <a:ext cx="514350" cy="514350"/>
          </a:xfrm>
          <a:prstGeom prst="teardrop">
            <a:avLst/>
          </a:prstGeom>
          <a:solidFill>
            <a:srgbClr val="4399FF"/>
          </a:solidFill>
          <a:ln w="33311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ID"/>
          </a:p>
        </p:txBody>
      </p:sp>
      <p:sp>
        <p:nvSpPr>
          <p:cNvPr id="24" name="Teardrop 23">
            <a:extLst>
              <a:ext uri="{FF2B5EF4-FFF2-40B4-BE49-F238E27FC236}">
                <a16:creationId xmlns:a16="http://schemas.microsoft.com/office/drawing/2014/main" xmlns="" id="{1EFD3315-3464-4C80-82D5-A53D25167A67}"/>
              </a:ext>
            </a:extLst>
          </p:cNvPr>
          <p:cNvSpPr/>
          <p:nvPr/>
        </p:nvSpPr>
        <p:spPr>
          <a:xfrm rot="2700000">
            <a:off x="6894704" y="5569315"/>
            <a:ext cx="514350" cy="514350"/>
          </a:xfrm>
          <a:prstGeom prst="teardrop">
            <a:avLst/>
          </a:prstGeom>
          <a:solidFill>
            <a:srgbClr val="4399FF"/>
          </a:solidFill>
          <a:ln w="33311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ID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0C737969-7DDD-4211-842B-C817A3696A9A}"/>
              </a:ext>
            </a:extLst>
          </p:cNvPr>
          <p:cNvSpPr txBox="1"/>
          <p:nvPr/>
        </p:nvSpPr>
        <p:spPr>
          <a:xfrm>
            <a:off x="6905524" y="736199"/>
            <a:ext cx="4507549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o-RO" sz="4000" dirty="0" smtClean="0">
                <a:latin typeface="Arial Black" panose="020B0A04020102020204" pitchFamily="34" charset="0"/>
              </a:rPr>
              <a:t>REZOLVAREA TASK-ULUI</a:t>
            </a:r>
            <a:endParaRPr kumimoji="0" lang="en-US" sz="40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07DFDECA-61AA-47A4-B9E4-C2A3F587825A}"/>
              </a:ext>
            </a:extLst>
          </p:cNvPr>
          <p:cNvSpPr txBox="1"/>
          <p:nvPr/>
        </p:nvSpPr>
        <p:spPr>
          <a:xfrm>
            <a:off x="6905524" y="2133630"/>
            <a:ext cx="4507549" cy="150810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Lorem ipsum dolor sit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amet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,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consectetur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adipiscing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elit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. Sed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eget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semper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apien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. Aenean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volutpat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,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enim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feugiat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bibendum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varius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, dui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augue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cursus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odio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,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quis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mollis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nisl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ipsum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nec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felis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. Donec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odales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interdum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ipsum, at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rhoncus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metus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efficitur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condimentum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. Vestibulum vel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viverra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magna. Aenean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volutpat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,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enim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feugiat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bibendum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varius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, dui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augue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cursus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odio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,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quis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mollis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nisl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ipsum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nec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felis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.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xmlns="" id="{302C242A-8F3A-49E0-B922-5069BF07B77F}"/>
              </a:ext>
            </a:extLst>
          </p:cNvPr>
          <p:cNvSpPr txBox="1"/>
          <p:nvPr/>
        </p:nvSpPr>
        <p:spPr>
          <a:xfrm>
            <a:off x="7795797" y="4185625"/>
            <a:ext cx="3617276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orem ipsum dolor sit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me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nsectetur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dipiscing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li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. Sed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ge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semper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apie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.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5D3BD161-F236-4318-AEFE-0154B2EF1008}"/>
              </a:ext>
            </a:extLst>
          </p:cNvPr>
          <p:cNvSpPr txBox="1"/>
          <p:nvPr/>
        </p:nvSpPr>
        <p:spPr>
          <a:xfrm>
            <a:off x="7795797" y="4898335"/>
            <a:ext cx="3617276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orem ipsum dolor sit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me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nsectetur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dipiscing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li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. Sed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ge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semper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apie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.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9E3D29EB-1124-4657-B3F1-F1273D86D06D}"/>
              </a:ext>
            </a:extLst>
          </p:cNvPr>
          <p:cNvSpPr txBox="1"/>
          <p:nvPr/>
        </p:nvSpPr>
        <p:spPr>
          <a:xfrm>
            <a:off x="7795797" y="5611045"/>
            <a:ext cx="3617276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orem ipsum dolor sit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me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nsectetur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dipiscing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li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. Sed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ge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semper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apie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. .</a:t>
            </a:r>
          </a:p>
        </p:txBody>
      </p:sp>
      <p:pic>
        <p:nvPicPr>
          <p:cNvPr id="47" name="Graphic 46">
            <a:extLst>
              <a:ext uri="{FF2B5EF4-FFF2-40B4-BE49-F238E27FC236}">
                <a16:creationId xmlns:a16="http://schemas.microsoft.com/office/drawing/2014/main" xmlns="" id="{6DC21D32-5309-44E4-ADCE-D94A162AF772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xmlns="" r:embed="rId14"/>
              </a:ext>
            </a:extLst>
          </a:blip>
          <a:stretch>
            <a:fillRect/>
          </a:stretch>
        </p:blipFill>
        <p:spPr>
          <a:xfrm>
            <a:off x="778926" y="2080996"/>
            <a:ext cx="5429832" cy="4040805"/>
          </a:xfrm>
          <a:prstGeom prst="rect">
            <a:avLst/>
          </a:prstGeom>
        </p:spPr>
      </p:pic>
      <p:pic>
        <p:nvPicPr>
          <p:cNvPr id="49" name="Graphic 48">
            <a:extLst>
              <a:ext uri="{FF2B5EF4-FFF2-40B4-BE49-F238E27FC236}">
                <a16:creationId xmlns:a16="http://schemas.microsoft.com/office/drawing/2014/main" xmlns="" id="{C05567BE-5707-4C7E-822D-C86EEADDB0CE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xmlns="" r:embed="rId16"/>
              </a:ext>
            </a:extLst>
          </a:blip>
          <a:stretch>
            <a:fillRect/>
          </a:stretch>
        </p:blipFill>
        <p:spPr>
          <a:xfrm>
            <a:off x="7043603" y="4399254"/>
            <a:ext cx="219075" cy="219075"/>
          </a:xfrm>
          <a:prstGeom prst="rect">
            <a:avLst/>
          </a:prstGeom>
        </p:spPr>
      </p:pic>
      <p:pic>
        <p:nvPicPr>
          <p:cNvPr id="50" name="Graphic 49">
            <a:extLst>
              <a:ext uri="{FF2B5EF4-FFF2-40B4-BE49-F238E27FC236}">
                <a16:creationId xmlns:a16="http://schemas.microsoft.com/office/drawing/2014/main" xmlns="" id="{7BD60497-96B4-4899-8A73-6750A700BF6E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xmlns="" r:embed="rId18"/>
              </a:ext>
            </a:extLst>
          </a:blip>
          <a:stretch>
            <a:fillRect/>
          </a:stretch>
        </p:blipFill>
        <p:spPr>
          <a:xfrm>
            <a:off x="7062165" y="5701664"/>
            <a:ext cx="176836" cy="249650"/>
          </a:xfrm>
          <a:prstGeom prst="rect">
            <a:avLst/>
          </a:prstGeom>
        </p:spPr>
      </p:pic>
      <p:pic>
        <p:nvPicPr>
          <p:cNvPr id="51" name="Graphic 50">
            <a:extLst>
              <a:ext uri="{FF2B5EF4-FFF2-40B4-BE49-F238E27FC236}">
                <a16:creationId xmlns:a16="http://schemas.microsoft.com/office/drawing/2014/main" xmlns="" id="{EE3C2012-2504-4DED-BD4E-EE149136B770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xmlns="" r:embed="rId20"/>
              </a:ext>
            </a:extLst>
          </a:blip>
          <a:stretch>
            <a:fillRect/>
          </a:stretch>
        </p:blipFill>
        <p:spPr>
          <a:xfrm>
            <a:off x="7043222" y="5048573"/>
            <a:ext cx="228600" cy="219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391463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96" name="Straight Connector 295">
            <a:extLst>
              <a:ext uri="{FF2B5EF4-FFF2-40B4-BE49-F238E27FC236}">
                <a16:creationId xmlns:a16="http://schemas.microsoft.com/office/drawing/2014/main" xmlns="" id="{54FFCE15-9548-4872-80FA-820EE31D393C}"/>
              </a:ext>
            </a:extLst>
          </p:cNvPr>
          <p:cNvCxnSpPr>
            <a:cxnSpLocks/>
          </p:cNvCxnSpPr>
          <p:nvPr/>
        </p:nvCxnSpPr>
        <p:spPr>
          <a:xfrm>
            <a:off x="5930900" y="5201949"/>
            <a:ext cx="56134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49" name="Group 248">
            <a:extLst>
              <a:ext uri="{FF2B5EF4-FFF2-40B4-BE49-F238E27FC236}">
                <a16:creationId xmlns:a16="http://schemas.microsoft.com/office/drawing/2014/main" xmlns="" id="{7EA219B4-C0BA-4A81-8604-43B918554AAF}"/>
              </a:ext>
            </a:extLst>
          </p:cNvPr>
          <p:cNvGrpSpPr/>
          <p:nvPr/>
        </p:nvGrpSpPr>
        <p:grpSpPr>
          <a:xfrm>
            <a:off x="-1" y="2405563"/>
            <a:ext cx="6287059" cy="4452437"/>
            <a:chOff x="-1" y="2930464"/>
            <a:chExt cx="6287059" cy="3927536"/>
          </a:xfrm>
        </p:grpSpPr>
        <p:sp>
          <p:nvSpPr>
            <p:cNvPr id="244" name="Freeform: Shape 243">
              <a:extLst>
                <a:ext uri="{FF2B5EF4-FFF2-40B4-BE49-F238E27FC236}">
                  <a16:creationId xmlns:a16="http://schemas.microsoft.com/office/drawing/2014/main" xmlns="" id="{DB6EA71D-502B-418E-8123-15457E98A931}"/>
                </a:ext>
              </a:extLst>
            </p:cNvPr>
            <p:cNvSpPr/>
            <p:nvPr/>
          </p:nvSpPr>
          <p:spPr>
            <a:xfrm>
              <a:off x="-1" y="2930464"/>
              <a:ext cx="6287059" cy="3927536"/>
            </a:xfrm>
            <a:custGeom>
              <a:avLst/>
              <a:gdLst>
                <a:gd name="connsiteX0" fmla="*/ 0 w 4690982"/>
                <a:gd name="connsiteY0" fmla="*/ 0 h 2930464"/>
                <a:gd name="connsiteX1" fmla="*/ 157023 w 4690982"/>
                <a:gd name="connsiteY1" fmla="*/ 15405 h 2930464"/>
                <a:gd name="connsiteX2" fmla="*/ 1085850 w 4690982"/>
                <a:gd name="connsiteY2" fmla="*/ 339664 h 2930464"/>
                <a:gd name="connsiteX3" fmla="*/ 1800225 w 4690982"/>
                <a:gd name="connsiteY3" fmla="*/ 2044639 h 2930464"/>
                <a:gd name="connsiteX4" fmla="*/ 3962400 w 4690982"/>
                <a:gd name="connsiteY4" fmla="*/ 2311339 h 2930464"/>
                <a:gd name="connsiteX5" fmla="*/ 4672757 w 4690982"/>
                <a:gd name="connsiteY5" fmla="*/ 2882169 h 2930464"/>
                <a:gd name="connsiteX6" fmla="*/ 4690982 w 4690982"/>
                <a:gd name="connsiteY6" fmla="*/ 2930464 h 2930464"/>
                <a:gd name="connsiteX7" fmla="*/ 0 w 4690982"/>
                <a:gd name="connsiteY7" fmla="*/ 2930464 h 2930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90982" h="2930464">
                  <a:moveTo>
                    <a:pt x="0" y="0"/>
                  </a:moveTo>
                  <a:lnTo>
                    <a:pt x="157023" y="15405"/>
                  </a:lnTo>
                  <a:cubicBezTo>
                    <a:pt x="476399" y="50938"/>
                    <a:pt x="868561" y="123367"/>
                    <a:pt x="1085850" y="339664"/>
                  </a:cubicBezTo>
                  <a:cubicBezTo>
                    <a:pt x="1433512" y="685739"/>
                    <a:pt x="1320800" y="1716027"/>
                    <a:pt x="1800225" y="2044639"/>
                  </a:cubicBezTo>
                  <a:cubicBezTo>
                    <a:pt x="2279650" y="2373251"/>
                    <a:pt x="3478213" y="2147827"/>
                    <a:pt x="3962400" y="2311339"/>
                  </a:cubicBezTo>
                  <a:cubicBezTo>
                    <a:pt x="4325541" y="2433973"/>
                    <a:pt x="4582418" y="2701269"/>
                    <a:pt x="4672757" y="2882169"/>
                  </a:cubicBezTo>
                  <a:lnTo>
                    <a:pt x="4690982" y="2930464"/>
                  </a:lnTo>
                  <a:lnTo>
                    <a:pt x="0" y="2930464"/>
                  </a:lnTo>
                  <a:close/>
                </a:path>
              </a:pathLst>
            </a:custGeom>
            <a:solidFill>
              <a:srgbClr val="D3E3FF">
                <a:alpha val="30000"/>
              </a:srgbClr>
            </a:solidFill>
            <a:ln w="28107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48" name="Freeform: Shape 247">
              <a:extLst>
                <a:ext uri="{FF2B5EF4-FFF2-40B4-BE49-F238E27FC236}">
                  <a16:creationId xmlns:a16="http://schemas.microsoft.com/office/drawing/2014/main" xmlns="" id="{D9D9A17E-4AAD-4965-9BA9-5581E019C411}"/>
                </a:ext>
              </a:extLst>
            </p:cNvPr>
            <p:cNvSpPr/>
            <p:nvPr/>
          </p:nvSpPr>
          <p:spPr>
            <a:xfrm>
              <a:off x="-1" y="4815680"/>
              <a:ext cx="5071120" cy="2042320"/>
            </a:xfrm>
            <a:custGeom>
              <a:avLst/>
              <a:gdLst>
                <a:gd name="connsiteX0" fmla="*/ 0 w 5071120"/>
                <a:gd name="connsiteY0" fmla="*/ 0 h 2042320"/>
                <a:gd name="connsiteX1" fmla="*/ 57151 w 5071120"/>
                <a:gd name="connsiteY1" fmla="*/ 19392 h 2042320"/>
                <a:gd name="connsiteX2" fmla="*/ 464458 w 5071120"/>
                <a:gd name="connsiteY2" fmla="*/ 264320 h 2042320"/>
                <a:gd name="connsiteX3" fmla="*/ 972458 w 5071120"/>
                <a:gd name="connsiteY3" fmla="*/ 1178720 h 2042320"/>
                <a:gd name="connsiteX4" fmla="*/ 1930401 w 5071120"/>
                <a:gd name="connsiteY4" fmla="*/ 1483520 h 2042320"/>
                <a:gd name="connsiteX5" fmla="*/ 2612572 w 5071120"/>
                <a:gd name="connsiteY5" fmla="*/ 1846377 h 2042320"/>
                <a:gd name="connsiteX6" fmla="*/ 4673601 w 5071120"/>
                <a:gd name="connsiteY6" fmla="*/ 1802834 h 2042320"/>
                <a:gd name="connsiteX7" fmla="*/ 4989740 w 5071120"/>
                <a:gd name="connsiteY7" fmla="*/ 1968274 h 2042320"/>
                <a:gd name="connsiteX8" fmla="*/ 5071120 w 5071120"/>
                <a:gd name="connsiteY8" fmla="*/ 2042320 h 2042320"/>
                <a:gd name="connsiteX9" fmla="*/ 0 w 5071120"/>
                <a:gd name="connsiteY9" fmla="*/ 2042320 h 2042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71120" h="2042320">
                  <a:moveTo>
                    <a:pt x="0" y="0"/>
                  </a:moveTo>
                  <a:lnTo>
                    <a:pt x="57151" y="19392"/>
                  </a:lnTo>
                  <a:cubicBezTo>
                    <a:pt x="208644" y="79263"/>
                    <a:pt x="348344" y="155463"/>
                    <a:pt x="464458" y="264320"/>
                  </a:cubicBezTo>
                  <a:cubicBezTo>
                    <a:pt x="696686" y="482034"/>
                    <a:pt x="728134" y="975520"/>
                    <a:pt x="972458" y="1178720"/>
                  </a:cubicBezTo>
                  <a:cubicBezTo>
                    <a:pt x="1216782" y="1381920"/>
                    <a:pt x="1657049" y="1372244"/>
                    <a:pt x="1930401" y="1483520"/>
                  </a:cubicBezTo>
                  <a:cubicBezTo>
                    <a:pt x="2203753" y="1594796"/>
                    <a:pt x="2155372" y="1793158"/>
                    <a:pt x="2612572" y="1846377"/>
                  </a:cubicBezTo>
                  <a:cubicBezTo>
                    <a:pt x="3069772" y="1899596"/>
                    <a:pt x="4201887" y="1667367"/>
                    <a:pt x="4673601" y="1802834"/>
                  </a:cubicBezTo>
                  <a:cubicBezTo>
                    <a:pt x="4791530" y="1836701"/>
                    <a:pt x="4897212" y="1895816"/>
                    <a:pt x="4989740" y="1968274"/>
                  </a:cubicBezTo>
                  <a:lnTo>
                    <a:pt x="5071120" y="2042320"/>
                  </a:lnTo>
                  <a:lnTo>
                    <a:pt x="0" y="2042320"/>
                  </a:lnTo>
                  <a:close/>
                </a:path>
              </a:pathLst>
            </a:custGeom>
            <a:solidFill>
              <a:srgbClr val="D3E3FF">
                <a:alpha val="30000"/>
              </a:srgbClr>
            </a:solidFill>
            <a:ln w="28107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A724404C-4F39-4AA2-B5E6-232CFE09BA59}"/>
              </a:ext>
            </a:extLst>
          </p:cNvPr>
          <p:cNvSpPr txBox="1"/>
          <p:nvPr/>
        </p:nvSpPr>
        <p:spPr>
          <a:xfrm>
            <a:off x="828399" y="602147"/>
            <a:ext cx="5267601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o-RO" sz="4000" smtClean="0">
                <a:latin typeface="Arial Black" panose="020B0A04020102020204" pitchFamily="34" charset="0"/>
              </a:rPr>
              <a:t>DEZVOLTĂRI VIITOARE</a:t>
            </a:r>
            <a:endParaRPr kumimoji="0" lang="en-US" sz="40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</a:endParaRPr>
          </a:p>
        </p:txBody>
      </p:sp>
      <p:grpSp>
        <p:nvGrpSpPr>
          <p:cNvPr id="262" name="Group 261">
            <a:extLst>
              <a:ext uri="{FF2B5EF4-FFF2-40B4-BE49-F238E27FC236}">
                <a16:creationId xmlns:a16="http://schemas.microsoft.com/office/drawing/2014/main" xmlns="" id="{B10D00C3-CFF1-4693-866C-640262368756}"/>
              </a:ext>
            </a:extLst>
          </p:cNvPr>
          <p:cNvGrpSpPr/>
          <p:nvPr/>
        </p:nvGrpSpPr>
        <p:grpSpPr>
          <a:xfrm>
            <a:off x="-651367" y="3173128"/>
            <a:ext cx="7297494" cy="3694396"/>
            <a:chOff x="-651367" y="2399229"/>
            <a:chExt cx="8826167" cy="4468295"/>
          </a:xfrm>
        </p:grpSpPr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xmlns="" id="{F0BC5C00-5197-4D12-9F1A-3CDEB03AD65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 flipH="1">
              <a:off x="-651367" y="2399229"/>
              <a:ext cx="7572375" cy="4468295"/>
            </a:xfrm>
            <a:prstGeom prst="rect">
              <a:avLst/>
            </a:prstGeom>
          </p:spPr>
        </p:pic>
        <p:pic>
          <p:nvPicPr>
            <p:cNvPr id="241" name="Graphic 240">
              <a:extLst>
                <a:ext uri="{FF2B5EF4-FFF2-40B4-BE49-F238E27FC236}">
                  <a16:creationId xmlns:a16="http://schemas.microsoft.com/office/drawing/2014/main" xmlns="" id="{82E2CD9C-59DD-4DB2-9774-070C0F9BF05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rcRect b="20204"/>
            <a:stretch/>
          </p:blipFill>
          <p:spPr>
            <a:xfrm>
              <a:off x="6962047" y="4218735"/>
              <a:ext cx="1212753" cy="2639265"/>
            </a:xfrm>
            <a:prstGeom prst="rect">
              <a:avLst/>
            </a:prstGeom>
          </p:spPr>
        </p:pic>
      </p:grpSp>
      <p:grpSp>
        <p:nvGrpSpPr>
          <p:cNvPr id="261" name="Group 260">
            <a:extLst>
              <a:ext uri="{FF2B5EF4-FFF2-40B4-BE49-F238E27FC236}">
                <a16:creationId xmlns:a16="http://schemas.microsoft.com/office/drawing/2014/main" xmlns="" id="{938FDED5-09AD-478D-9CD5-7D616DBD017C}"/>
              </a:ext>
            </a:extLst>
          </p:cNvPr>
          <p:cNvGrpSpPr/>
          <p:nvPr/>
        </p:nvGrpSpPr>
        <p:grpSpPr>
          <a:xfrm>
            <a:off x="7095179" y="0"/>
            <a:ext cx="5096822" cy="4468295"/>
            <a:chOff x="6248424" y="0"/>
            <a:chExt cx="5943577" cy="5210630"/>
          </a:xfrm>
        </p:grpSpPr>
        <p:sp>
          <p:nvSpPr>
            <p:cNvPr id="252" name="Freeform: Shape 251">
              <a:extLst>
                <a:ext uri="{FF2B5EF4-FFF2-40B4-BE49-F238E27FC236}">
                  <a16:creationId xmlns:a16="http://schemas.microsoft.com/office/drawing/2014/main" xmlns="" id="{DE20FCCE-28A7-4D66-B632-9D239B7D57DB}"/>
                </a:ext>
              </a:extLst>
            </p:cNvPr>
            <p:cNvSpPr/>
            <p:nvPr/>
          </p:nvSpPr>
          <p:spPr>
            <a:xfrm>
              <a:off x="6248424" y="2"/>
              <a:ext cx="5943576" cy="5210628"/>
            </a:xfrm>
            <a:custGeom>
              <a:avLst/>
              <a:gdLst>
                <a:gd name="connsiteX0" fmla="*/ 0 w 6117296"/>
                <a:gd name="connsiteY0" fmla="*/ 0 h 5362925"/>
                <a:gd name="connsiteX1" fmla="*/ 6117296 w 6117296"/>
                <a:gd name="connsiteY1" fmla="*/ 0 h 5362925"/>
                <a:gd name="connsiteX2" fmla="*/ 6117296 w 6117296"/>
                <a:gd name="connsiteY2" fmla="*/ 5362925 h 5362925"/>
                <a:gd name="connsiteX3" fmla="*/ 6022423 w 6117296"/>
                <a:gd name="connsiteY3" fmla="*/ 5238576 h 5362925"/>
                <a:gd name="connsiteX4" fmla="*/ 5662386 w 6117296"/>
                <a:gd name="connsiteY4" fmla="*/ 4693567 h 5362925"/>
                <a:gd name="connsiteX5" fmla="*/ 5589815 w 6117296"/>
                <a:gd name="connsiteY5" fmla="*/ 3880767 h 5362925"/>
                <a:gd name="connsiteX6" fmla="*/ 4385129 w 6117296"/>
                <a:gd name="connsiteY6" fmla="*/ 3358252 h 5362925"/>
                <a:gd name="connsiteX7" fmla="*/ 3644900 w 6117296"/>
                <a:gd name="connsiteY7" fmla="*/ 1543967 h 5362925"/>
                <a:gd name="connsiteX8" fmla="*/ 1380672 w 6117296"/>
                <a:gd name="connsiteY8" fmla="*/ 1282709 h 5362925"/>
                <a:gd name="connsiteX9" fmla="*/ 10433 w 6117296"/>
                <a:gd name="connsiteY9" fmla="*/ 15204 h 5362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117296" h="5362925">
                  <a:moveTo>
                    <a:pt x="0" y="0"/>
                  </a:moveTo>
                  <a:lnTo>
                    <a:pt x="6117296" y="0"/>
                  </a:lnTo>
                  <a:lnTo>
                    <a:pt x="6117296" y="5362925"/>
                  </a:lnTo>
                  <a:lnTo>
                    <a:pt x="6022423" y="5238576"/>
                  </a:lnTo>
                  <a:cubicBezTo>
                    <a:pt x="5868988" y="5030117"/>
                    <a:pt x="5734050" y="4825103"/>
                    <a:pt x="5662386" y="4693567"/>
                  </a:cubicBezTo>
                  <a:cubicBezTo>
                    <a:pt x="5471281" y="4342805"/>
                    <a:pt x="5802691" y="4103320"/>
                    <a:pt x="5589815" y="3880767"/>
                  </a:cubicBezTo>
                  <a:cubicBezTo>
                    <a:pt x="5376939" y="3658215"/>
                    <a:pt x="4709281" y="3747719"/>
                    <a:pt x="4385129" y="3358252"/>
                  </a:cubicBezTo>
                  <a:cubicBezTo>
                    <a:pt x="4060977" y="2968785"/>
                    <a:pt x="4145643" y="1889891"/>
                    <a:pt x="3644900" y="1543967"/>
                  </a:cubicBezTo>
                  <a:cubicBezTo>
                    <a:pt x="3144157" y="1198043"/>
                    <a:pt x="2024139" y="1602023"/>
                    <a:pt x="1380672" y="1282709"/>
                  </a:cubicBezTo>
                  <a:cubicBezTo>
                    <a:pt x="898072" y="1043224"/>
                    <a:pt x="331108" y="463559"/>
                    <a:pt x="10433" y="15204"/>
                  </a:cubicBezTo>
                  <a:close/>
                </a:path>
              </a:pathLst>
            </a:custGeom>
            <a:solidFill>
              <a:srgbClr val="D3E3FF">
                <a:alpha val="30000"/>
              </a:srgbClr>
            </a:solidFill>
            <a:ln w="28107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60" name="Freeform: Shape 259">
              <a:extLst>
                <a:ext uri="{FF2B5EF4-FFF2-40B4-BE49-F238E27FC236}">
                  <a16:creationId xmlns:a16="http://schemas.microsoft.com/office/drawing/2014/main" xmlns="" id="{DDD374C5-D1B9-41C8-9EA9-DFAD11AA8BE3}"/>
                </a:ext>
              </a:extLst>
            </p:cNvPr>
            <p:cNvSpPr/>
            <p:nvPr/>
          </p:nvSpPr>
          <p:spPr>
            <a:xfrm>
              <a:off x="8741078" y="0"/>
              <a:ext cx="3450923" cy="3007563"/>
            </a:xfrm>
            <a:custGeom>
              <a:avLst/>
              <a:gdLst>
                <a:gd name="connsiteX0" fmla="*/ 0 w 3450923"/>
                <a:gd name="connsiteY0" fmla="*/ 0 h 3007563"/>
                <a:gd name="connsiteX1" fmla="*/ 3450923 w 3450923"/>
                <a:gd name="connsiteY1" fmla="*/ 0 h 3007563"/>
                <a:gd name="connsiteX2" fmla="*/ 3450923 w 3450923"/>
                <a:gd name="connsiteY2" fmla="*/ 3007563 h 3007563"/>
                <a:gd name="connsiteX3" fmla="*/ 3447295 w 3450923"/>
                <a:gd name="connsiteY3" fmla="*/ 3006397 h 3007563"/>
                <a:gd name="connsiteX4" fmla="*/ 2971952 w 3450923"/>
                <a:gd name="connsiteY4" fmla="*/ 2681768 h 3007563"/>
                <a:gd name="connsiteX5" fmla="*/ 2638123 w 3450923"/>
                <a:gd name="connsiteY5" fmla="*/ 1330099 h 3007563"/>
                <a:gd name="connsiteX6" fmla="*/ 591609 w 3450923"/>
                <a:gd name="connsiteY6" fmla="*/ 494797 h 3007563"/>
                <a:gd name="connsiteX7" fmla="*/ 5722 w 3450923"/>
                <a:gd name="connsiteY7" fmla="*/ 13445 h 30075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450923" h="3007563">
                  <a:moveTo>
                    <a:pt x="0" y="0"/>
                  </a:moveTo>
                  <a:lnTo>
                    <a:pt x="3450923" y="0"/>
                  </a:lnTo>
                  <a:lnTo>
                    <a:pt x="3450923" y="3007563"/>
                  </a:lnTo>
                  <a:lnTo>
                    <a:pt x="3447295" y="3006397"/>
                  </a:lnTo>
                  <a:cubicBezTo>
                    <a:pt x="3264657" y="2938054"/>
                    <a:pt x="3075971" y="2827313"/>
                    <a:pt x="2971952" y="2681768"/>
                  </a:cubicBezTo>
                  <a:cubicBezTo>
                    <a:pt x="2763914" y="2390679"/>
                    <a:pt x="3034847" y="1694594"/>
                    <a:pt x="2638123" y="1330099"/>
                  </a:cubicBezTo>
                  <a:cubicBezTo>
                    <a:pt x="2241399" y="965603"/>
                    <a:pt x="1022200" y="758044"/>
                    <a:pt x="591609" y="494797"/>
                  </a:cubicBezTo>
                  <a:cubicBezTo>
                    <a:pt x="322490" y="330268"/>
                    <a:pt x="86444" y="166727"/>
                    <a:pt x="5722" y="13445"/>
                  </a:cubicBezTo>
                  <a:close/>
                </a:path>
              </a:pathLst>
            </a:custGeom>
            <a:solidFill>
              <a:srgbClr val="FFD966"/>
            </a:solidFill>
            <a:ln w="28107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</p:grpSp>
      <p:graphicFrame>
        <p:nvGraphicFramePr>
          <p:cNvPr id="265" name="Chart 264">
            <a:extLst>
              <a:ext uri="{FF2B5EF4-FFF2-40B4-BE49-F238E27FC236}">
                <a16:creationId xmlns:a16="http://schemas.microsoft.com/office/drawing/2014/main" xmlns="" id="{DFB5F871-4D6F-490A-913E-73C12B9A804F}"/>
              </a:ext>
            </a:extLst>
          </p:cNvPr>
          <p:cNvGraphicFramePr/>
          <p:nvPr>
            <p:extLst/>
          </p:nvPr>
        </p:nvGraphicFramePr>
        <p:xfrm>
          <a:off x="7600777" y="1833614"/>
          <a:ext cx="2710037" cy="27081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67" name="TextBox 266">
            <a:extLst>
              <a:ext uri="{FF2B5EF4-FFF2-40B4-BE49-F238E27FC236}">
                <a16:creationId xmlns:a16="http://schemas.microsoft.com/office/drawing/2014/main" xmlns="" id="{31B811D2-46E7-42A5-807E-CD9D4BD769B3}"/>
              </a:ext>
            </a:extLst>
          </p:cNvPr>
          <p:cNvSpPr txBox="1"/>
          <p:nvPr/>
        </p:nvSpPr>
        <p:spPr>
          <a:xfrm>
            <a:off x="6494463" y="1250321"/>
            <a:ext cx="1408399" cy="3416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indent="-457200">
              <a:lnSpc>
                <a:spcPct val="90000"/>
              </a:lnSpc>
              <a:spcBef>
                <a:spcPts val="1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228600" lvl="1" indent="-228600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685800" lvl="2" indent="-228600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3pPr>
            <a:lvl4pPr marL="1143000" lvl="3" indent="-228600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5pPr>
          </a:lstStyle>
          <a:p>
            <a:pPr marL="0" lvl="1" indent="0">
              <a:buNone/>
            </a:pPr>
            <a:r>
              <a:rPr lang="en-US" dirty="0">
                <a:sym typeface="Calibri" panose="020F0502020204030204" pitchFamily="34" charset="0"/>
              </a:rPr>
              <a:t>Lorem Ipsum</a:t>
            </a:r>
          </a:p>
        </p:txBody>
      </p:sp>
      <p:grpSp>
        <p:nvGrpSpPr>
          <p:cNvPr id="273" name="Group 272">
            <a:extLst>
              <a:ext uri="{FF2B5EF4-FFF2-40B4-BE49-F238E27FC236}">
                <a16:creationId xmlns:a16="http://schemas.microsoft.com/office/drawing/2014/main" xmlns="" id="{DD631A07-BDB1-47F2-9927-BE70B43BE796}"/>
              </a:ext>
            </a:extLst>
          </p:cNvPr>
          <p:cNvGrpSpPr/>
          <p:nvPr/>
        </p:nvGrpSpPr>
        <p:grpSpPr>
          <a:xfrm>
            <a:off x="7902862" y="1418431"/>
            <a:ext cx="689483" cy="481489"/>
            <a:chOff x="8336280" y="1691640"/>
            <a:chExt cx="586740" cy="449580"/>
          </a:xfrm>
        </p:grpSpPr>
        <p:cxnSp>
          <p:nvCxnSpPr>
            <p:cNvPr id="269" name="Straight Connector 268">
              <a:extLst>
                <a:ext uri="{FF2B5EF4-FFF2-40B4-BE49-F238E27FC236}">
                  <a16:creationId xmlns:a16="http://schemas.microsoft.com/office/drawing/2014/main" xmlns="" id="{FA05609A-5399-443A-8659-298FA91A0D14}"/>
                </a:ext>
              </a:extLst>
            </p:cNvPr>
            <p:cNvCxnSpPr/>
            <p:nvPr/>
          </p:nvCxnSpPr>
          <p:spPr>
            <a:xfrm>
              <a:off x="8336280" y="1691640"/>
              <a:ext cx="419100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1" name="Straight Connector 270">
              <a:extLst>
                <a:ext uri="{FF2B5EF4-FFF2-40B4-BE49-F238E27FC236}">
                  <a16:creationId xmlns:a16="http://schemas.microsoft.com/office/drawing/2014/main" xmlns="" id="{CD4FD3CF-A165-489C-828C-F598CAD79C95}"/>
                </a:ext>
              </a:extLst>
            </p:cNvPr>
            <p:cNvCxnSpPr>
              <a:cxnSpLocks/>
            </p:cNvCxnSpPr>
            <p:nvPr/>
          </p:nvCxnSpPr>
          <p:spPr>
            <a:xfrm>
              <a:off x="8755380" y="1691640"/>
              <a:ext cx="167640" cy="44958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4" name="TextBox 273">
            <a:extLst>
              <a:ext uri="{FF2B5EF4-FFF2-40B4-BE49-F238E27FC236}">
                <a16:creationId xmlns:a16="http://schemas.microsoft.com/office/drawing/2014/main" xmlns="" id="{5984EB3B-8939-42BB-AA46-51F1DE0EA5B3}"/>
              </a:ext>
            </a:extLst>
          </p:cNvPr>
          <p:cNvSpPr txBox="1"/>
          <p:nvPr/>
        </p:nvSpPr>
        <p:spPr>
          <a:xfrm>
            <a:off x="5956383" y="1996157"/>
            <a:ext cx="1408399" cy="3416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indent="-457200">
              <a:lnSpc>
                <a:spcPct val="90000"/>
              </a:lnSpc>
              <a:spcBef>
                <a:spcPts val="1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228600" lvl="1" indent="-228600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685800" lvl="2" indent="-228600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3pPr>
            <a:lvl4pPr marL="1143000" lvl="3" indent="-228600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5pPr>
          </a:lstStyle>
          <a:p>
            <a:pPr marL="0" lvl="1" indent="0">
              <a:buNone/>
            </a:pPr>
            <a:r>
              <a:rPr lang="en-US" dirty="0">
                <a:sym typeface="Calibri" panose="020F0502020204030204" pitchFamily="34" charset="0"/>
              </a:rPr>
              <a:t>Lorem Ipsum</a:t>
            </a:r>
          </a:p>
        </p:txBody>
      </p:sp>
      <p:grpSp>
        <p:nvGrpSpPr>
          <p:cNvPr id="275" name="Group 274">
            <a:extLst>
              <a:ext uri="{FF2B5EF4-FFF2-40B4-BE49-F238E27FC236}">
                <a16:creationId xmlns:a16="http://schemas.microsoft.com/office/drawing/2014/main" xmlns="" id="{014781A1-AF6F-47A8-86CE-61CFB52A41D8}"/>
              </a:ext>
            </a:extLst>
          </p:cNvPr>
          <p:cNvGrpSpPr/>
          <p:nvPr/>
        </p:nvGrpSpPr>
        <p:grpSpPr>
          <a:xfrm>
            <a:off x="7364769" y="2164263"/>
            <a:ext cx="574637" cy="128083"/>
            <a:chOff x="8603560" y="1691640"/>
            <a:chExt cx="223235" cy="119595"/>
          </a:xfrm>
        </p:grpSpPr>
        <p:cxnSp>
          <p:nvCxnSpPr>
            <p:cNvPr id="276" name="Straight Connector 275">
              <a:extLst>
                <a:ext uri="{FF2B5EF4-FFF2-40B4-BE49-F238E27FC236}">
                  <a16:creationId xmlns:a16="http://schemas.microsoft.com/office/drawing/2014/main" xmlns="" id="{1648124F-E47D-47AA-9371-833C9FFCB982}"/>
                </a:ext>
              </a:extLst>
            </p:cNvPr>
            <p:cNvCxnSpPr>
              <a:cxnSpLocks/>
            </p:cNvCxnSpPr>
            <p:nvPr/>
          </p:nvCxnSpPr>
          <p:spPr>
            <a:xfrm>
              <a:off x="8603560" y="1691640"/>
              <a:ext cx="151820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7" name="Straight Connector 276">
              <a:extLst>
                <a:ext uri="{FF2B5EF4-FFF2-40B4-BE49-F238E27FC236}">
                  <a16:creationId xmlns:a16="http://schemas.microsoft.com/office/drawing/2014/main" xmlns="" id="{6054242A-7245-4D5A-89D4-327368EC0D4E}"/>
                </a:ext>
              </a:extLst>
            </p:cNvPr>
            <p:cNvCxnSpPr>
              <a:cxnSpLocks/>
            </p:cNvCxnSpPr>
            <p:nvPr/>
          </p:nvCxnSpPr>
          <p:spPr>
            <a:xfrm>
              <a:off x="8755380" y="1691640"/>
              <a:ext cx="71415" cy="119595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80" name="TextBox 279">
            <a:extLst>
              <a:ext uri="{FF2B5EF4-FFF2-40B4-BE49-F238E27FC236}">
                <a16:creationId xmlns:a16="http://schemas.microsoft.com/office/drawing/2014/main" xmlns="" id="{10A658E2-EE8F-4B4A-B7FE-BB9E7EE14BBF}"/>
              </a:ext>
            </a:extLst>
          </p:cNvPr>
          <p:cNvSpPr txBox="1"/>
          <p:nvPr/>
        </p:nvSpPr>
        <p:spPr>
          <a:xfrm>
            <a:off x="10202545" y="4540883"/>
            <a:ext cx="1408399" cy="3416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indent="-457200">
              <a:lnSpc>
                <a:spcPct val="90000"/>
              </a:lnSpc>
              <a:spcBef>
                <a:spcPts val="1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228600" lvl="1" indent="-228600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685800" lvl="2" indent="-228600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3pPr>
            <a:lvl4pPr marL="1143000" lvl="3" indent="-228600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5pPr>
          </a:lstStyle>
          <a:p>
            <a:pPr marL="0" lvl="1" indent="0">
              <a:buNone/>
            </a:pPr>
            <a:r>
              <a:rPr lang="en-US" dirty="0">
                <a:sym typeface="Calibri" panose="020F0502020204030204" pitchFamily="34" charset="0"/>
              </a:rPr>
              <a:t>Lorem Ipsum</a:t>
            </a:r>
          </a:p>
        </p:txBody>
      </p:sp>
      <p:grpSp>
        <p:nvGrpSpPr>
          <p:cNvPr id="283" name="Group 282">
            <a:extLst>
              <a:ext uri="{FF2B5EF4-FFF2-40B4-BE49-F238E27FC236}">
                <a16:creationId xmlns:a16="http://schemas.microsoft.com/office/drawing/2014/main" xmlns="" id="{E73001DC-059A-40A5-8A2F-E40F89AD2F8B}"/>
              </a:ext>
            </a:extLst>
          </p:cNvPr>
          <p:cNvGrpSpPr/>
          <p:nvPr/>
        </p:nvGrpSpPr>
        <p:grpSpPr>
          <a:xfrm flipH="1" flipV="1">
            <a:off x="9627908" y="4349478"/>
            <a:ext cx="574637" cy="362221"/>
            <a:chOff x="8603560" y="1691640"/>
            <a:chExt cx="223235" cy="119595"/>
          </a:xfrm>
        </p:grpSpPr>
        <p:cxnSp>
          <p:nvCxnSpPr>
            <p:cNvPr id="284" name="Straight Connector 283">
              <a:extLst>
                <a:ext uri="{FF2B5EF4-FFF2-40B4-BE49-F238E27FC236}">
                  <a16:creationId xmlns:a16="http://schemas.microsoft.com/office/drawing/2014/main" xmlns="" id="{48B41880-6B63-4DA6-95EF-D3A1104B777D}"/>
                </a:ext>
              </a:extLst>
            </p:cNvPr>
            <p:cNvCxnSpPr>
              <a:cxnSpLocks/>
            </p:cNvCxnSpPr>
            <p:nvPr/>
          </p:nvCxnSpPr>
          <p:spPr>
            <a:xfrm>
              <a:off x="8603560" y="1691640"/>
              <a:ext cx="151820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5" name="Straight Connector 284">
              <a:extLst>
                <a:ext uri="{FF2B5EF4-FFF2-40B4-BE49-F238E27FC236}">
                  <a16:creationId xmlns:a16="http://schemas.microsoft.com/office/drawing/2014/main" xmlns="" id="{C30082F6-2A2D-4383-8F0D-66BA014F6AEE}"/>
                </a:ext>
              </a:extLst>
            </p:cNvPr>
            <p:cNvCxnSpPr>
              <a:cxnSpLocks/>
            </p:cNvCxnSpPr>
            <p:nvPr/>
          </p:nvCxnSpPr>
          <p:spPr>
            <a:xfrm>
              <a:off x="8755380" y="1691640"/>
              <a:ext cx="71415" cy="119595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86" name="TextBox 285">
            <a:extLst>
              <a:ext uri="{FF2B5EF4-FFF2-40B4-BE49-F238E27FC236}">
                <a16:creationId xmlns:a16="http://schemas.microsoft.com/office/drawing/2014/main" xmlns="" id="{C37A80A2-ACD1-4D95-87AA-C8A70F8D4174}"/>
              </a:ext>
            </a:extLst>
          </p:cNvPr>
          <p:cNvSpPr txBox="1"/>
          <p:nvPr/>
        </p:nvSpPr>
        <p:spPr>
          <a:xfrm>
            <a:off x="5956383" y="4140375"/>
            <a:ext cx="1408399" cy="3416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indent="-457200">
              <a:lnSpc>
                <a:spcPct val="90000"/>
              </a:lnSpc>
              <a:spcBef>
                <a:spcPts val="1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228600" lvl="1" indent="-228600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685800" lvl="2" indent="-228600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3pPr>
            <a:lvl4pPr marL="1143000" lvl="3" indent="-228600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5pPr>
          </a:lstStyle>
          <a:p>
            <a:pPr marL="0" lvl="1" indent="0">
              <a:buNone/>
            </a:pPr>
            <a:r>
              <a:rPr lang="en-US" dirty="0">
                <a:sym typeface="Calibri" panose="020F0502020204030204" pitchFamily="34" charset="0"/>
              </a:rPr>
              <a:t>Lorem Ipsum</a:t>
            </a:r>
          </a:p>
        </p:txBody>
      </p:sp>
      <p:grpSp>
        <p:nvGrpSpPr>
          <p:cNvPr id="291" name="Group 290">
            <a:extLst>
              <a:ext uri="{FF2B5EF4-FFF2-40B4-BE49-F238E27FC236}">
                <a16:creationId xmlns:a16="http://schemas.microsoft.com/office/drawing/2014/main" xmlns="" id="{12E55E29-3E18-45ED-945E-2B0C025468AF}"/>
              </a:ext>
            </a:extLst>
          </p:cNvPr>
          <p:cNvGrpSpPr/>
          <p:nvPr/>
        </p:nvGrpSpPr>
        <p:grpSpPr>
          <a:xfrm flipV="1">
            <a:off x="7364769" y="4076699"/>
            <a:ext cx="574637" cy="229803"/>
            <a:chOff x="8603560" y="1691640"/>
            <a:chExt cx="223235" cy="119595"/>
          </a:xfrm>
        </p:grpSpPr>
        <p:cxnSp>
          <p:nvCxnSpPr>
            <p:cNvPr id="292" name="Straight Connector 291">
              <a:extLst>
                <a:ext uri="{FF2B5EF4-FFF2-40B4-BE49-F238E27FC236}">
                  <a16:creationId xmlns:a16="http://schemas.microsoft.com/office/drawing/2014/main" xmlns="" id="{59871852-0C7F-43A3-8E32-6AEA5843F6B1}"/>
                </a:ext>
              </a:extLst>
            </p:cNvPr>
            <p:cNvCxnSpPr>
              <a:cxnSpLocks/>
            </p:cNvCxnSpPr>
            <p:nvPr/>
          </p:nvCxnSpPr>
          <p:spPr>
            <a:xfrm>
              <a:off x="8603560" y="1691640"/>
              <a:ext cx="151820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3" name="Straight Connector 292">
              <a:extLst>
                <a:ext uri="{FF2B5EF4-FFF2-40B4-BE49-F238E27FC236}">
                  <a16:creationId xmlns:a16="http://schemas.microsoft.com/office/drawing/2014/main" xmlns="" id="{20413461-8CBB-4D86-8BF8-72E9244AEBF9}"/>
                </a:ext>
              </a:extLst>
            </p:cNvPr>
            <p:cNvCxnSpPr>
              <a:cxnSpLocks/>
            </p:cNvCxnSpPr>
            <p:nvPr/>
          </p:nvCxnSpPr>
          <p:spPr>
            <a:xfrm>
              <a:off x="8755380" y="1691640"/>
              <a:ext cx="71415" cy="119595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0" name="TextBox 299">
            <a:extLst>
              <a:ext uri="{FF2B5EF4-FFF2-40B4-BE49-F238E27FC236}">
                <a16:creationId xmlns:a16="http://schemas.microsoft.com/office/drawing/2014/main" xmlns="" id="{36C099BF-4879-4070-BF5E-43FF5B4FF340}"/>
              </a:ext>
            </a:extLst>
          </p:cNvPr>
          <p:cNvSpPr txBox="1"/>
          <p:nvPr/>
        </p:nvSpPr>
        <p:spPr>
          <a:xfrm>
            <a:off x="6943725" y="5521384"/>
            <a:ext cx="4600575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Lorem ipsum dolor sit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amet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,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consectetur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adipiscing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elit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. Sed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eget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semper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apien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. Donec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odales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interdum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ipsum, at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rhoncus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metus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    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efficitur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condimentum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. Vestibulum vel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viverra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magna. </a:t>
            </a:r>
          </a:p>
        </p:txBody>
      </p:sp>
      <p:grpSp>
        <p:nvGrpSpPr>
          <p:cNvPr id="301" name="Group 300">
            <a:extLst>
              <a:ext uri="{FF2B5EF4-FFF2-40B4-BE49-F238E27FC236}">
                <a16:creationId xmlns:a16="http://schemas.microsoft.com/office/drawing/2014/main" xmlns="" id="{6DE5F1F9-DF9D-4953-B5ED-1D9266E73416}"/>
              </a:ext>
            </a:extLst>
          </p:cNvPr>
          <p:cNvGrpSpPr/>
          <p:nvPr/>
        </p:nvGrpSpPr>
        <p:grpSpPr>
          <a:xfrm>
            <a:off x="8706631" y="2938538"/>
            <a:ext cx="498330" cy="498328"/>
            <a:chOff x="7002463" y="4673600"/>
            <a:chExt cx="360363" cy="360363"/>
          </a:xfrm>
          <a:solidFill>
            <a:schemeClr val="tx2"/>
          </a:solidFill>
        </p:grpSpPr>
        <p:sp>
          <p:nvSpPr>
            <p:cNvPr id="302" name="Freeform 57">
              <a:extLst>
                <a:ext uri="{FF2B5EF4-FFF2-40B4-BE49-F238E27FC236}">
                  <a16:creationId xmlns:a16="http://schemas.microsoft.com/office/drawing/2014/main" xmlns="" id="{5F6482DF-944D-41E9-8297-5D7576125E4D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2463" y="4673600"/>
              <a:ext cx="360363" cy="360363"/>
            </a:xfrm>
            <a:custGeom>
              <a:avLst/>
              <a:gdLst>
                <a:gd name="T0" fmla="*/ 92 w 96"/>
                <a:gd name="T1" fmla="*/ 0 h 96"/>
                <a:gd name="T2" fmla="*/ 92 w 96"/>
                <a:gd name="T3" fmla="*/ 0 h 96"/>
                <a:gd name="T4" fmla="*/ 68 w 96"/>
                <a:gd name="T5" fmla="*/ 0 h 96"/>
                <a:gd name="T6" fmla="*/ 64 w 96"/>
                <a:gd name="T7" fmla="*/ 4 h 96"/>
                <a:gd name="T8" fmla="*/ 68 w 96"/>
                <a:gd name="T9" fmla="*/ 8 h 96"/>
                <a:gd name="T10" fmla="*/ 82 w 96"/>
                <a:gd name="T11" fmla="*/ 8 h 96"/>
                <a:gd name="T12" fmla="*/ 1 w 96"/>
                <a:gd name="T13" fmla="*/ 89 h 96"/>
                <a:gd name="T14" fmla="*/ 1 w 96"/>
                <a:gd name="T15" fmla="*/ 95 h 96"/>
                <a:gd name="T16" fmla="*/ 4 w 96"/>
                <a:gd name="T17" fmla="*/ 96 h 96"/>
                <a:gd name="T18" fmla="*/ 7 w 96"/>
                <a:gd name="T19" fmla="*/ 95 h 96"/>
                <a:gd name="T20" fmla="*/ 88 w 96"/>
                <a:gd name="T21" fmla="*/ 14 h 96"/>
                <a:gd name="T22" fmla="*/ 88 w 96"/>
                <a:gd name="T23" fmla="*/ 28 h 96"/>
                <a:gd name="T24" fmla="*/ 92 w 96"/>
                <a:gd name="T25" fmla="*/ 32 h 96"/>
                <a:gd name="T26" fmla="*/ 96 w 96"/>
                <a:gd name="T27" fmla="*/ 28 h 96"/>
                <a:gd name="T28" fmla="*/ 96 w 96"/>
                <a:gd name="T29" fmla="*/ 4 h 96"/>
                <a:gd name="T30" fmla="*/ 92 w 96"/>
                <a:gd name="T31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6" h="96">
                  <a:moveTo>
                    <a:pt x="92" y="0"/>
                  </a:moveTo>
                  <a:cubicBezTo>
                    <a:pt x="92" y="0"/>
                    <a:pt x="92" y="0"/>
                    <a:pt x="92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66" y="0"/>
                    <a:pt x="64" y="2"/>
                    <a:pt x="64" y="4"/>
                  </a:cubicBezTo>
                  <a:cubicBezTo>
                    <a:pt x="64" y="6"/>
                    <a:pt x="66" y="8"/>
                    <a:pt x="68" y="8"/>
                  </a:cubicBezTo>
                  <a:cubicBezTo>
                    <a:pt x="82" y="8"/>
                    <a:pt x="82" y="8"/>
                    <a:pt x="82" y="8"/>
                  </a:cubicBezTo>
                  <a:cubicBezTo>
                    <a:pt x="1" y="89"/>
                    <a:pt x="1" y="89"/>
                    <a:pt x="1" y="89"/>
                  </a:cubicBezTo>
                  <a:cubicBezTo>
                    <a:pt x="0" y="91"/>
                    <a:pt x="0" y="93"/>
                    <a:pt x="1" y="95"/>
                  </a:cubicBezTo>
                  <a:cubicBezTo>
                    <a:pt x="2" y="96"/>
                    <a:pt x="3" y="96"/>
                    <a:pt x="4" y="96"/>
                  </a:cubicBezTo>
                  <a:cubicBezTo>
                    <a:pt x="5" y="96"/>
                    <a:pt x="6" y="96"/>
                    <a:pt x="7" y="95"/>
                  </a:cubicBezTo>
                  <a:cubicBezTo>
                    <a:pt x="88" y="14"/>
                    <a:pt x="88" y="14"/>
                    <a:pt x="88" y="14"/>
                  </a:cubicBezTo>
                  <a:cubicBezTo>
                    <a:pt x="88" y="28"/>
                    <a:pt x="88" y="28"/>
                    <a:pt x="88" y="28"/>
                  </a:cubicBezTo>
                  <a:cubicBezTo>
                    <a:pt x="88" y="30"/>
                    <a:pt x="90" y="32"/>
                    <a:pt x="92" y="32"/>
                  </a:cubicBezTo>
                  <a:cubicBezTo>
                    <a:pt x="94" y="32"/>
                    <a:pt x="96" y="30"/>
                    <a:pt x="96" y="28"/>
                  </a:cubicBezTo>
                  <a:cubicBezTo>
                    <a:pt x="96" y="4"/>
                    <a:pt x="96" y="4"/>
                    <a:pt x="96" y="4"/>
                  </a:cubicBezTo>
                  <a:cubicBezTo>
                    <a:pt x="96" y="2"/>
                    <a:pt x="94" y="0"/>
                    <a:pt x="9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03" name="Oval 58">
              <a:extLst>
                <a:ext uri="{FF2B5EF4-FFF2-40B4-BE49-F238E27FC236}">
                  <a16:creationId xmlns:a16="http://schemas.microsoft.com/office/drawing/2014/main" xmlns="" id="{6CF31936-1616-4B24-BB55-2F01C7DF95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10401" y="4681538"/>
              <a:ext cx="134938" cy="1349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04" name="Oval 59">
              <a:extLst>
                <a:ext uri="{FF2B5EF4-FFF2-40B4-BE49-F238E27FC236}">
                  <a16:creationId xmlns:a16="http://schemas.microsoft.com/office/drawing/2014/main" xmlns="" id="{E5C3B7A2-2C4F-453F-9839-BDE890B5BE7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21538" y="4891088"/>
              <a:ext cx="134938" cy="1365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306" name="Freeform: Shape 305">
            <a:extLst>
              <a:ext uri="{FF2B5EF4-FFF2-40B4-BE49-F238E27FC236}">
                <a16:creationId xmlns:a16="http://schemas.microsoft.com/office/drawing/2014/main" xmlns="" id="{9DF27494-6D43-404F-9704-348DAB451EB1}"/>
              </a:ext>
            </a:extLst>
          </p:cNvPr>
          <p:cNvSpPr/>
          <p:nvPr/>
        </p:nvSpPr>
        <p:spPr>
          <a:xfrm>
            <a:off x="2671055" y="2855199"/>
            <a:ext cx="315984" cy="316279"/>
          </a:xfrm>
          <a:custGeom>
            <a:avLst/>
            <a:gdLst>
              <a:gd name="connsiteX0" fmla="*/ 51149 w 102203"/>
              <a:gd name="connsiteY0" fmla="*/ 0 h 102298"/>
              <a:gd name="connsiteX1" fmla="*/ 69152 w 102203"/>
              <a:gd name="connsiteY1" fmla="*/ 33052 h 102298"/>
              <a:gd name="connsiteX2" fmla="*/ 102203 w 102203"/>
              <a:gd name="connsiteY2" fmla="*/ 51149 h 102298"/>
              <a:gd name="connsiteX3" fmla="*/ 69152 w 102203"/>
              <a:gd name="connsiteY3" fmla="*/ 69247 h 102298"/>
              <a:gd name="connsiteX4" fmla="*/ 51149 w 102203"/>
              <a:gd name="connsiteY4" fmla="*/ 102299 h 102298"/>
              <a:gd name="connsiteX5" fmla="*/ 33052 w 102203"/>
              <a:gd name="connsiteY5" fmla="*/ 69247 h 102298"/>
              <a:gd name="connsiteX6" fmla="*/ 0 w 102203"/>
              <a:gd name="connsiteY6" fmla="*/ 51149 h 102298"/>
              <a:gd name="connsiteX7" fmla="*/ 33052 w 102203"/>
              <a:gd name="connsiteY7" fmla="*/ 33052 h 1022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2203" h="102298">
                <a:moveTo>
                  <a:pt x="51149" y="0"/>
                </a:moveTo>
                <a:lnTo>
                  <a:pt x="69152" y="33052"/>
                </a:lnTo>
                <a:lnTo>
                  <a:pt x="102203" y="51149"/>
                </a:lnTo>
                <a:lnTo>
                  <a:pt x="69152" y="69247"/>
                </a:lnTo>
                <a:lnTo>
                  <a:pt x="51149" y="102299"/>
                </a:lnTo>
                <a:lnTo>
                  <a:pt x="33052" y="69247"/>
                </a:lnTo>
                <a:lnTo>
                  <a:pt x="0" y="51149"/>
                </a:lnTo>
                <a:lnTo>
                  <a:pt x="33052" y="33052"/>
                </a:lnTo>
                <a:close/>
              </a:path>
            </a:pathLst>
          </a:custGeom>
          <a:solidFill>
            <a:srgbClr val="26323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07" name="Freeform: Shape 306">
            <a:extLst>
              <a:ext uri="{FF2B5EF4-FFF2-40B4-BE49-F238E27FC236}">
                <a16:creationId xmlns:a16="http://schemas.microsoft.com/office/drawing/2014/main" xmlns="" id="{BD830D1F-DF76-49C8-A8A7-79951890E4EB}"/>
              </a:ext>
            </a:extLst>
          </p:cNvPr>
          <p:cNvSpPr/>
          <p:nvPr/>
        </p:nvSpPr>
        <p:spPr>
          <a:xfrm>
            <a:off x="3464673" y="2331673"/>
            <a:ext cx="237404" cy="237625"/>
          </a:xfrm>
          <a:custGeom>
            <a:avLst/>
            <a:gdLst>
              <a:gd name="connsiteX0" fmla="*/ 51149 w 102203"/>
              <a:gd name="connsiteY0" fmla="*/ 0 h 102298"/>
              <a:gd name="connsiteX1" fmla="*/ 69152 w 102203"/>
              <a:gd name="connsiteY1" fmla="*/ 33052 h 102298"/>
              <a:gd name="connsiteX2" fmla="*/ 102203 w 102203"/>
              <a:gd name="connsiteY2" fmla="*/ 51149 h 102298"/>
              <a:gd name="connsiteX3" fmla="*/ 69152 w 102203"/>
              <a:gd name="connsiteY3" fmla="*/ 69247 h 102298"/>
              <a:gd name="connsiteX4" fmla="*/ 51149 w 102203"/>
              <a:gd name="connsiteY4" fmla="*/ 102299 h 102298"/>
              <a:gd name="connsiteX5" fmla="*/ 33052 w 102203"/>
              <a:gd name="connsiteY5" fmla="*/ 69247 h 102298"/>
              <a:gd name="connsiteX6" fmla="*/ 0 w 102203"/>
              <a:gd name="connsiteY6" fmla="*/ 51149 h 102298"/>
              <a:gd name="connsiteX7" fmla="*/ 33052 w 102203"/>
              <a:gd name="connsiteY7" fmla="*/ 33052 h 1022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2203" h="102298">
                <a:moveTo>
                  <a:pt x="51149" y="0"/>
                </a:moveTo>
                <a:lnTo>
                  <a:pt x="69152" y="33052"/>
                </a:lnTo>
                <a:lnTo>
                  <a:pt x="102203" y="51149"/>
                </a:lnTo>
                <a:lnTo>
                  <a:pt x="69152" y="69247"/>
                </a:lnTo>
                <a:lnTo>
                  <a:pt x="51149" y="102299"/>
                </a:lnTo>
                <a:lnTo>
                  <a:pt x="33052" y="69247"/>
                </a:lnTo>
                <a:lnTo>
                  <a:pt x="0" y="51149"/>
                </a:lnTo>
                <a:lnTo>
                  <a:pt x="33052" y="33052"/>
                </a:lnTo>
                <a:close/>
              </a:path>
            </a:pathLst>
          </a:custGeom>
          <a:solidFill>
            <a:srgbClr val="26323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08" name="Freeform: Shape 307">
            <a:extLst>
              <a:ext uri="{FF2B5EF4-FFF2-40B4-BE49-F238E27FC236}">
                <a16:creationId xmlns:a16="http://schemas.microsoft.com/office/drawing/2014/main" xmlns="" id="{813ADBAC-DD8B-47CF-91A3-8ADBEA60DD73}"/>
              </a:ext>
            </a:extLst>
          </p:cNvPr>
          <p:cNvSpPr/>
          <p:nvPr/>
        </p:nvSpPr>
        <p:spPr>
          <a:xfrm>
            <a:off x="1492384" y="2111919"/>
            <a:ext cx="196202" cy="196385"/>
          </a:xfrm>
          <a:custGeom>
            <a:avLst/>
            <a:gdLst>
              <a:gd name="connsiteX0" fmla="*/ 51149 w 102203"/>
              <a:gd name="connsiteY0" fmla="*/ 0 h 102298"/>
              <a:gd name="connsiteX1" fmla="*/ 69152 w 102203"/>
              <a:gd name="connsiteY1" fmla="*/ 33052 h 102298"/>
              <a:gd name="connsiteX2" fmla="*/ 102203 w 102203"/>
              <a:gd name="connsiteY2" fmla="*/ 51149 h 102298"/>
              <a:gd name="connsiteX3" fmla="*/ 69152 w 102203"/>
              <a:gd name="connsiteY3" fmla="*/ 69247 h 102298"/>
              <a:gd name="connsiteX4" fmla="*/ 51149 w 102203"/>
              <a:gd name="connsiteY4" fmla="*/ 102299 h 102298"/>
              <a:gd name="connsiteX5" fmla="*/ 33052 w 102203"/>
              <a:gd name="connsiteY5" fmla="*/ 69247 h 102298"/>
              <a:gd name="connsiteX6" fmla="*/ 0 w 102203"/>
              <a:gd name="connsiteY6" fmla="*/ 51149 h 102298"/>
              <a:gd name="connsiteX7" fmla="*/ 33052 w 102203"/>
              <a:gd name="connsiteY7" fmla="*/ 33052 h 1022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2203" h="102298">
                <a:moveTo>
                  <a:pt x="51149" y="0"/>
                </a:moveTo>
                <a:lnTo>
                  <a:pt x="69152" y="33052"/>
                </a:lnTo>
                <a:lnTo>
                  <a:pt x="102203" y="51149"/>
                </a:lnTo>
                <a:lnTo>
                  <a:pt x="69152" y="69247"/>
                </a:lnTo>
                <a:lnTo>
                  <a:pt x="51149" y="102299"/>
                </a:lnTo>
                <a:lnTo>
                  <a:pt x="33052" y="69247"/>
                </a:lnTo>
                <a:lnTo>
                  <a:pt x="0" y="51149"/>
                </a:lnTo>
                <a:lnTo>
                  <a:pt x="33052" y="33052"/>
                </a:lnTo>
                <a:close/>
              </a:path>
            </a:pathLst>
          </a:custGeom>
          <a:solidFill>
            <a:srgbClr val="26323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09" name="Freeform: Shape 308">
            <a:extLst>
              <a:ext uri="{FF2B5EF4-FFF2-40B4-BE49-F238E27FC236}">
                <a16:creationId xmlns:a16="http://schemas.microsoft.com/office/drawing/2014/main" xmlns="" id="{BC7D38DF-9763-4C8A-91E3-91464777D36B}"/>
              </a:ext>
            </a:extLst>
          </p:cNvPr>
          <p:cNvSpPr/>
          <p:nvPr/>
        </p:nvSpPr>
        <p:spPr>
          <a:xfrm>
            <a:off x="2116852" y="4042182"/>
            <a:ext cx="196202" cy="196385"/>
          </a:xfrm>
          <a:custGeom>
            <a:avLst/>
            <a:gdLst>
              <a:gd name="connsiteX0" fmla="*/ 51149 w 102203"/>
              <a:gd name="connsiteY0" fmla="*/ 0 h 102298"/>
              <a:gd name="connsiteX1" fmla="*/ 69152 w 102203"/>
              <a:gd name="connsiteY1" fmla="*/ 33052 h 102298"/>
              <a:gd name="connsiteX2" fmla="*/ 102203 w 102203"/>
              <a:gd name="connsiteY2" fmla="*/ 51149 h 102298"/>
              <a:gd name="connsiteX3" fmla="*/ 69152 w 102203"/>
              <a:gd name="connsiteY3" fmla="*/ 69247 h 102298"/>
              <a:gd name="connsiteX4" fmla="*/ 51149 w 102203"/>
              <a:gd name="connsiteY4" fmla="*/ 102299 h 102298"/>
              <a:gd name="connsiteX5" fmla="*/ 33052 w 102203"/>
              <a:gd name="connsiteY5" fmla="*/ 69247 h 102298"/>
              <a:gd name="connsiteX6" fmla="*/ 0 w 102203"/>
              <a:gd name="connsiteY6" fmla="*/ 51149 h 102298"/>
              <a:gd name="connsiteX7" fmla="*/ 33052 w 102203"/>
              <a:gd name="connsiteY7" fmla="*/ 33052 h 1022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2203" h="102298">
                <a:moveTo>
                  <a:pt x="51149" y="0"/>
                </a:moveTo>
                <a:lnTo>
                  <a:pt x="69152" y="33052"/>
                </a:lnTo>
                <a:lnTo>
                  <a:pt x="102203" y="51149"/>
                </a:lnTo>
                <a:lnTo>
                  <a:pt x="69152" y="69247"/>
                </a:lnTo>
                <a:lnTo>
                  <a:pt x="51149" y="102299"/>
                </a:lnTo>
                <a:lnTo>
                  <a:pt x="33052" y="69247"/>
                </a:lnTo>
                <a:lnTo>
                  <a:pt x="0" y="51149"/>
                </a:lnTo>
                <a:lnTo>
                  <a:pt x="33052" y="33052"/>
                </a:lnTo>
                <a:close/>
              </a:path>
            </a:pathLst>
          </a:custGeom>
          <a:solidFill>
            <a:srgbClr val="26323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10" name="Freeform: Shape 309">
            <a:extLst>
              <a:ext uri="{FF2B5EF4-FFF2-40B4-BE49-F238E27FC236}">
                <a16:creationId xmlns:a16="http://schemas.microsoft.com/office/drawing/2014/main" xmlns="" id="{1A1F9DFE-0237-4770-B15F-A64552FE9D30}"/>
              </a:ext>
            </a:extLst>
          </p:cNvPr>
          <p:cNvSpPr/>
          <p:nvPr/>
        </p:nvSpPr>
        <p:spPr>
          <a:xfrm>
            <a:off x="4815026" y="3601597"/>
            <a:ext cx="196202" cy="196385"/>
          </a:xfrm>
          <a:custGeom>
            <a:avLst/>
            <a:gdLst>
              <a:gd name="connsiteX0" fmla="*/ 51149 w 102203"/>
              <a:gd name="connsiteY0" fmla="*/ 0 h 102298"/>
              <a:gd name="connsiteX1" fmla="*/ 69152 w 102203"/>
              <a:gd name="connsiteY1" fmla="*/ 33052 h 102298"/>
              <a:gd name="connsiteX2" fmla="*/ 102203 w 102203"/>
              <a:gd name="connsiteY2" fmla="*/ 51149 h 102298"/>
              <a:gd name="connsiteX3" fmla="*/ 69152 w 102203"/>
              <a:gd name="connsiteY3" fmla="*/ 69247 h 102298"/>
              <a:gd name="connsiteX4" fmla="*/ 51149 w 102203"/>
              <a:gd name="connsiteY4" fmla="*/ 102299 h 102298"/>
              <a:gd name="connsiteX5" fmla="*/ 33052 w 102203"/>
              <a:gd name="connsiteY5" fmla="*/ 69247 h 102298"/>
              <a:gd name="connsiteX6" fmla="*/ 0 w 102203"/>
              <a:gd name="connsiteY6" fmla="*/ 51149 h 102298"/>
              <a:gd name="connsiteX7" fmla="*/ 33052 w 102203"/>
              <a:gd name="connsiteY7" fmla="*/ 33052 h 1022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2203" h="102298">
                <a:moveTo>
                  <a:pt x="51149" y="0"/>
                </a:moveTo>
                <a:lnTo>
                  <a:pt x="69152" y="33052"/>
                </a:lnTo>
                <a:lnTo>
                  <a:pt x="102203" y="51149"/>
                </a:lnTo>
                <a:lnTo>
                  <a:pt x="69152" y="69247"/>
                </a:lnTo>
                <a:lnTo>
                  <a:pt x="51149" y="102299"/>
                </a:lnTo>
                <a:lnTo>
                  <a:pt x="33052" y="69247"/>
                </a:lnTo>
                <a:lnTo>
                  <a:pt x="0" y="51149"/>
                </a:lnTo>
                <a:lnTo>
                  <a:pt x="33052" y="33052"/>
                </a:lnTo>
                <a:close/>
              </a:path>
            </a:pathLst>
          </a:custGeom>
          <a:solidFill>
            <a:srgbClr val="26323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822458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5" name="Group 44">
            <a:extLst>
              <a:ext uri="{FF2B5EF4-FFF2-40B4-BE49-F238E27FC236}">
                <a16:creationId xmlns:a16="http://schemas.microsoft.com/office/drawing/2014/main" xmlns="" id="{1AF94A5D-639C-45B8-A55C-52DC2DA61E21}"/>
              </a:ext>
            </a:extLst>
          </p:cNvPr>
          <p:cNvGrpSpPr/>
          <p:nvPr/>
        </p:nvGrpSpPr>
        <p:grpSpPr>
          <a:xfrm>
            <a:off x="0" y="2264617"/>
            <a:ext cx="5598649" cy="4593384"/>
            <a:chOff x="0" y="1728273"/>
            <a:chExt cx="6252372" cy="5129728"/>
          </a:xfrm>
        </p:grpSpPr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xmlns="" id="{35C4DD0A-4033-4B16-B876-E5EE8F8D8175}"/>
                </a:ext>
              </a:extLst>
            </p:cNvPr>
            <p:cNvSpPr/>
            <p:nvPr/>
          </p:nvSpPr>
          <p:spPr>
            <a:xfrm>
              <a:off x="0" y="1728273"/>
              <a:ext cx="6252372" cy="5129728"/>
            </a:xfrm>
            <a:custGeom>
              <a:avLst/>
              <a:gdLst>
                <a:gd name="connsiteX0" fmla="*/ 121613 w 6476512"/>
                <a:gd name="connsiteY0" fmla="*/ 8 h 5313623"/>
                <a:gd name="connsiteX1" fmla="*/ 522514 w 6476512"/>
                <a:gd name="connsiteY1" fmla="*/ 200448 h 5313623"/>
                <a:gd name="connsiteX2" fmla="*/ 895739 w 6476512"/>
                <a:gd name="connsiteY2" fmla="*/ 1553387 h 5313623"/>
                <a:gd name="connsiteX3" fmla="*/ 2099388 w 6476512"/>
                <a:gd name="connsiteY3" fmla="*/ 1945273 h 5313623"/>
                <a:gd name="connsiteX4" fmla="*/ 4413380 w 6476512"/>
                <a:gd name="connsiteY4" fmla="*/ 2775697 h 5313623"/>
                <a:gd name="connsiteX5" fmla="*/ 4795935 w 6476512"/>
                <a:gd name="connsiteY5" fmla="*/ 4427216 h 5313623"/>
                <a:gd name="connsiteX6" fmla="*/ 6398336 w 6476512"/>
                <a:gd name="connsiteY6" fmla="*/ 5273370 h 5313623"/>
                <a:gd name="connsiteX7" fmla="*/ 6476512 w 6476512"/>
                <a:gd name="connsiteY7" fmla="*/ 5313623 h 5313623"/>
                <a:gd name="connsiteX8" fmla="*/ 0 w 6476512"/>
                <a:gd name="connsiteY8" fmla="*/ 5313623 h 5313623"/>
                <a:gd name="connsiteX9" fmla="*/ 0 w 6476512"/>
                <a:gd name="connsiteY9" fmla="*/ 9381 h 5313623"/>
                <a:gd name="connsiteX10" fmla="*/ 29705 w 6476512"/>
                <a:gd name="connsiteY10" fmla="*/ 5052 h 5313623"/>
                <a:gd name="connsiteX11" fmla="*/ 121613 w 6476512"/>
                <a:gd name="connsiteY11" fmla="*/ 8 h 5313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476512" h="5313623">
                  <a:moveTo>
                    <a:pt x="121613" y="8"/>
                  </a:moveTo>
                  <a:cubicBezTo>
                    <a:pt x="272787" y="-683"/>
                    <a:pt x="412685" y="42022"/>
                    <a:pt x="522514" y="200448"/>
                  </a:cubicBezTo>
                  <a:cubicBezTo>
                    <a:pt x="698241" y="453930"/>
                    <a:pt x="632927" y="1262583"/>
                    <a:pt x="895739" y="1553387"/>
                  </a:cubicBezTo>
                  <a:cubicBezTo>
                    <a:pt x="1158551" y="1844191"/>
                    <a:pt x="1513115" y="1741555"/>
                    <a:pt x="2099388" y="1945273"/>
                  </a:cubicBezTo>
                  <a:cubicBezTo>
                    <a:pt x="2685661" y="2148991"/>
                    <a:pt x="3963956" y="2362040"/>
                    <a:pt x="4413380" y="2775697"/>
                  </a:cubicBezTo>
                  <a:cubicBezTo>
                    <a:pt x="4862805" y="3189354"/>
                    <a:pt x="4435152" y="3991788"/>
                    <a:pt x="4795935" y="4427216"/>
                  </a:cubicBezTo>
                  <a:cubicBezTo>
                    <a:pt x="5089072" y="4781002"/>
                    <a:pt x="6000228" y="5081404"/>
                    <a:pt x="6398336" y="5273370"/>
                  </a:cubicBezTo>
                  <a:lnTo>
                    <a:pt x="6476512" y="5313623"/>
                  </a:lnTo>
                  <a:lnTo>
                    <a:pt x="0" y="5313623"/>
                  </a:lnTo>
                  <a:lnTo>
                    <a:pt x="0" y="9381"/>
                  </a:lnTo>
                  <a:lnTo>
                    <a:pt x="29705" y="5052"/>
                  </a:lnTo>
                  <a:cubicBezTo>
                    <a:pt x="60692" y="2020"/>
                    <a:pt x="91378" y="146"/>
                    <a:pt x="121613" y="8"/>
                  </a:cubicBezTo>
                  <a:close/>
                </a:path>
              </a:pathLst>
            </a:custGeom>
            <a:solidFill>
              <a:srgbClr val="4399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xmlns="" id="{51D94560-7E54-4B1F-AB83-6500CABE7DBC}"/>
                </a:ext>
              </a:extLst>
            </p:cNvPr>
            <p:cNvSpPr/>
            <p:nvPr/>
          </p:nvSpPr>
          <p:spPr>
            <a:xfrm>
              <a:off x="1" y="3512194"/>
              <a:ext cx="4711699" cy="3345806"/>
            </a:xfrm>
            <a:custGeom>
              <a:avLst/>
              <a:gdLst>
                <a:gd name="connsiteX0" fmla="*/ 0 w 4601321"/>
                <a:gd name="connsiteY0" fmla="*/ 0 h 3267426"/>
                <a:gd name="connsiteX1" fmla="*/ 275431 w 4601321"/>
                <a:gd name="connsiteY1" fmla="*/ 92822 h 3267426"/>
                <a:gd name="connsiteX2" fmla="*/ 1397000 w 4601321"/>
                <a:gd name="connsiteY2" fmla="*/ 651225 h 3267426"/>
                <a:gd name="connsiteX3" fmla="*/ 1803400 w 4601321"/>
                <a:gd name="connsiteY3" fmla="*/ 2149825 h 3267426"/>
                <a:gd name="connsiteX4" fmla="*/ 3962400 w 4601321"/>
                <a:gd name="connsiteY4" fmla="*/ 2759425 h 3267426"/>
                <a:gd name="connsiteX5" fmla="*/ 4551053 w 4601321"/>
                <a:gd name="connsiteY5" fmla="*/ 3214802 h 3267426"/>
                <a:gd name="connsiteX6" fmla="*/ 4601321 w 4601321"/>
                <a:gd name="connsiteY6" fmla="*/ 3267426 h 3267426"/>
                <a:gd name="connsiteX7" fmla="*/ 0 w 4601321"/>
                <a:gd name="connsiteY7" fmla="*/ 3267426 h 3267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01321" h="3267426">
                  <a:moveTo>
                    <a:pt x="0" y="0"/>
                  </a:moveTo>
                  <a:lnTo>
                    <a:pt x="275431" y="92822"/>
                  </a:lnTo>
                  <a:cubicBezTo>
                    <a:pt x="743479" y="259377"/>
                    <a:pt x="1140884" y="440617"/>
                    <a:pt x="1397000" y="651225"/>
                  </a:cubicBezTo>
                  <a:cubicBezTo>
                    <a:pt x="1909233" y="1072442"/>
                    <a:pt x="1375833" y="1798458"/>
                    <a:pt x="1803400" y="2149825"/>
                  </a:cubicBezTo>
                  <a:cubicBezTo>
                    <a:pt x="2230967" y="2501192"/>
                    <a:pt x="3418417" y="2482142"/>
                    <a:pt x="3962400" y="2759425"/>
                  </a:cubicBezTo>
                  <a:cubicBezTo>
                    <a:pt x="4166394" y="2863406"/>
                    <a:pt x="4372769" y="3037634"/>
                    <a:pt x="4551053" y="3214802"/>
                  </a:cubicBezTo>
                  <a:lnTo>
                    <a:pt x="4601321" y="3267426"/>
                  </a:lnTo>
                  <a:lnTo>
                    <a:pt x="0" y="3267426"/>
                  </a:lnTo>
                  <a:close/>
                </a:path>
              </a:pathLst>
            </a:custGeom>
            <a:solidFill>
              <a:srgbClr val="FFD966"/>
            </a:solidFill>
            <a:ln w="281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xmlns="" id="{581F5EDD-89FA-4568-B800-B61930CFA30E}"/>
                </a:ext>
              </a:extLst>
            </p:cNvPr>
            <p:cNvSpPr/>
            <p:nvPr/>
          </p:nvSpPr>
          <p:spPr>
            <a:xfrm>
              <a:off x="1" y="5108612"/>
              <a:ext cx="2348500" cy="1749388"/>
            </a:xfrm>
            <a:custGeom>
              <a:avLst/>
              <a:gdLst>
                <a:gd name="connsiteX0" fmla="*/ 0 w 2348500"/>
                <a:gd name="connsiteY0" fmla="*/ 0 h 1749388"/>
                <a:gd name="connsiteX1" fmla="*/ 72553 w 2348500"/>
                <a:gd name="connsiteY1" fmla="*/ 2779 h 1749388"/>
                <a:gd name="connsiteX2" fmla="*/ 634999 w 2348500"/>
                <a:gd name="connsiteY2" fmla="*/ 212688 h 1749388"/>
                <a:gd name="connsiteX3" fmla="*/ 1003299 w 2348500"/>
                <a:gd name="connsiteY3" fmla="*/ 1114388 h 1749388"/>
                <a:gd name="connsiteX4" fmla="*/ 1993899 w 2348500"/>
                <a:gd name="connsiteY4" fmla="*/ 1330288 h 1749388"/>
                <a:gd name="connsiteX5" fmla="*/ 2310941 w 2348500"/>
                <a:gd name="connsiteY5" fmla="*/ 1691271 h 1749388"/>
                <a:gd name="connsiteX6" fmla="*/ 2348500 w 2348500"/>
                <a:gd name="connsiteY6" fmla="*/ 1749388 h 1749388"/>
                <a:gd name="connsiteX7" fmla="*/ 0 w 2348500"/>
                <a:gd name="connsiteY7" fmla="*/ 1749388 h 1749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48500" h="1749388">
                  <a:moveTo>
                    <a:pt x="0" y="0"/>
                  </a:moveTo>
                  <a:lnTo>
                    <a:pt x="72553" y="2779"/>
                  </a:lnTo>
                  <a:cubicBezTo>
                    <a:pt x="281119" y="22519"/>
                    <a:pt x="502707" y="100240"/>
                    <a:pt x="634999" y="212688"/>
                  </a:cubicBezTo>
                  <a:cubicBezTo>
                    <a:pt x="846666" y="392605"/>
                    <a:pt x="776816" y="928121"/>
                    <a:pt x="1003299" y="1114388"/>
                  </a:cubicBezTo>
                  <a:cubicBezTo>
                    <a:pt x="1229782" y="1300655"/>
                    <a:pt x="1718732" y="1127088"/>
                    <a:pt x="1993899" y="1330288"/>
                  </a:cubicBezTo>
                  <a:cubicBezTo>
                    <a:pt x="2097087" y="1406488"/>
                    <a:pt x="2208906" y="1542219"/>
                    <a:pt x="2310941" y="1691271"/>
                  </a:cubicBezTo>
                  <a:lnTo>
                    <a:pt x="2348500" y="1749388"/>
                  </a:lnTo>
                  <a:lnTo>
                    <a:pt x="0" y="1749388"/>
                  </a:lnTo>
                  <a:close/>
                </a:path>
              </a:pathLst>
            </a:custGeom>
            <a:solidFill>
              <a:srgbClr val="D3E3FF"/>
            </a:solidFill>
            <a:ln w="281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" name="Rectangle: Top Corners Rounded 1">
            <a:extLst>
              <a:ext uri="{FF2B5EF4-FFF2-40B4-BE49-F238E27FC236}">
                <a16:creationId xmlns:a16="http://schemas.microsoft.com/office/drawing/2014/main" xmlns="" id="{FB8BFC86-3A63-4DF1-8CC7-EA74388151FE}"/>
              </a:ext>
            </a:extLst>
          </p:cNvPr>
          <p:cNvSpPr/>
          <p:nvPr/>
        </p:nvSpPr>
        <p:spPr>
          <a:xfrm>
            <a:off x="828399" y="2264617"/>
            <a:ext cx="2146822" cy="523875"/>
          </a:xfrm>
          <a:prstGeom prst="round2SameRect">
            <a:avLst/>
          </a:prstGeom>
          <a:solidFill>
            <a:srgbClr val="439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: Top Corners Rounded 2">
            <a:extLst>
              <a:ext uri="{FF2B5EF4-FFF2-40B4-BE49-F238E27FC236}">
                <a16:creationId xmlns:a16="http://schemas.microsoft.com/office/drawing/2014/main" xmlns="" id="{3DBF08F8-B3AD-43D9-93D2-8AD76A69EFC4}"/>
              </a:ext>
            </a:extLst>
          </p:cNvPr>
          <p:cNvSpPr/>
          <p:nvPr/>
        </p:nvSpPr>
        <p:spPr>
          <a:xfrm>
            <a:off x="3222322" y="2264617"/>
            <a:ext cx="2146822" cy="523875"/>
          </a:xfrm>
          <a:prstGeom prst="round2SameRect">
            <a:avLst/>
          </a:prstGeom>
          <a:solidFill>
            <a:srgbClr val="2C5D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: Top Corners Rounded 3">
            <a:extLst>
              <a:ext uri="{FF2B5EF4-FFF2-40B4-BE49-F238E27FC236}">
                <a16:creationId xmlns:a16="http://schemas.microsoft.com/office/drawing/2014/main" xmlns="" id="{BFC2BA5B-6AC5-41D8-A373-6D96D8311670}"/>
              </a:ext>
            </a:extLst>
          </p:cNvPr>
          <p:cNvSpPr/>
          <p:nvPr/>
        </p:nvSpPr>
        <p:spPr>
          <a:xfrm>
            <a:off x="5616246" y="2264617"/>
            <a:ext cx="2146822" cy="523875"/>
          </a:xfrm>
          <a:prstGeom prst="round2SameRect">
            <a:avLst/>
          </a:prstGeom>
          <a:solidFill>
            <a:srgbClr val="27C1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: Top Corners Rounded 7">
            <a:extLst>
              <a:ext uri="{FF2B5EF4-FFF2-40B4-BE49-F238E27FC236}">
                <a16:creationId xmlns:a16="http://schemas.microsoft.com/office/drawing/2014/main" xmlns="" id="{45C38928-30E5-4F25-9199-BCB9F51C4C09}"/>
              </a:ext>
            </a:extLst>
          </p:cNvPr>
          <p:cNvSpPr/>
          <p:nvPr/>
        </p:nvSpPr>
        <p:spPr>
          <a:xfrm rot="10800000">
            <a:off x="5616247" y="2788491"/>
            <a:ext cx="2146822" cy="2943225"/>
          </a:xfrm>
          <a:prstGeom prst="round2SameRect">
            <a:avLst>
              <a:gd name="adj1" fmla="val 4301"/>
              <a:gd name="adj2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: Top Corners Rounded 8">
            <a:extLst>
              <a:ext uri="{FF2B5EF4-FFF2-40B4-BE49-F238E27FC236}">
                <a16:creationId xmlns:a16="http://schemas.microsoft.com/office/drawing/2014/main" xmlns="" id="{4692ACB6-B184-4A92-8197-983DAC0DB20E}"/>
              </a:ext>
            </a:extLst>
          </p:cNvPr>
          <p:cNvSpPr/>
          <p:nvPr/>
        </p:nvSpPr>
        <p:spPr>
          <a:xfrm rot="10800000">
            <a:off x="3222323" y="2788491"/>
            <a:ext cx="2146822" cy="2943225"/>
          </a:xfrm>
          <a:prstGeom prst="round2SameRect">
            <a:avLst>
              <a:gd name="adj1" fmla="val 4301"/>
              <a:gd name="adj2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: Top Corners Rounded 9">
            <a:extLst>
              <a:ext uri="{FF2B5EF4-FFF2-40B4-BE49-F238E27FC236}">
                <a16:creationId xmlns:a16="http://schemas.microsoft.com/office/drawing/2014/main" xmlns="" id="{4EEC3496-326D-42EF-8EAE-1366CF097ABC}"/>
              </a:ext>
            </a:extLst>
          </p:cNvPr>
          <p:cNvSpPr/>
          <p:nvPr/>
        </p:nvSpPr>
        <p:spPr>
          <a:xfrm rot="10800000">
            <a:off x="828399" y="2788491"/>
            <a:ext cx="2146822" cy="2943225"/>
          </a:xfrm>
          <a:prstGeom prst="round2SameRect">
            <a:avLst>
              <a:gd name="adj1" fmla="val 4301"/>
              <a:gd name="adj2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89A5BE5C-C0ED-4F74-BC94-65212DD96489}"/>
              </a:ext>
            </a:extLst>
          </p:cNvPr>
          <p:cNvSpPr txBox="1"/>
          <p:nvPr/>
        </p:nvSpPr>
        <p:spPr>
          <a:xfrm>
            <a:off x="828398" y="602147"/>
            <a:ext cx="6188222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o-RO" sz="400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ECHIPA</a:t>
            </a:r>
            <a:r>
              <a:rPr kumimoji="0" lang="ro-RO" sz="4000" i="0" u="none" strike="noStrike" kern="1200" cap="none" spc="0" normalizeH="0" noProof="0" dirty="0" smtClean="0">
                <a:ln>
                  <a:noFill/>
                </a:ln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 NOASTRĂ</a:t>
            </a:r>
            <a:endParaRPr kumimoji="0" lang="en-US" sz="40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DD2226B0-8DC2-4AC7-84DD-BB177E59254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02420" y="2814923"/>
            <a:ext cx="3946458" cy="3005014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xmlns="" id="{EC7B3E69-88F5-4561-A521-CF9DE69939D6}"/>
              </a:ext>
            </a:extLst>
          </p:cNvPr>
          <p:cNvSpPr txBox="1"/>
          <p:nvPr/>
        </p:nvSpPr>
        <p:spPr>
          <a:xfrm>
            <a:off x="1089047" y="2418832"/>
            <a:ext cx="1625526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o-RO" sz="1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Ana-Maria Aftenie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xmlns="" id="{A8DF912B-168B-4B44-AC61-D65CB9FE3764}"/>
              </a:ext>
            </a:extLst>
          </p:cNvPr>
          <p:cNvSpPr txBox="1"/>
          <p:nvPr/>
        </p:nvSpPr>
        <p:spPr>
          <a:xfrm>
            <a:off x="3482970" y="2418832"/>
            <a:ext cx="1625526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o-RO" sz="1400" b="1" dirty="0" smtClean="0">
                <a:solidFill>
                  <a:schemeClr val="bg1"/>
                </a:solidFill>
              </a:rPr>
              <a:t>Andreea Purța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xmlns="" id="{AA42ED13-F9C3-4DEF-A44C-CBD56CAE76D2}"/>
              </a:ext>
            </a:extLst>
          </p:cNvPr>
          <p:cNvSpPr txBox="1"/>
          <p:nvPr/>
        </p:nvSpPr>
        <p:spPr>
          <a:xfrm>
            <a:off x="5876894" y="2418832"/>
            <a:ext cx="1625526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o-RO" sz="1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Andrei Florescu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xmlns="" id="{EEADF687-E877-4CE5-B7AC-3611BF1A754E}"/>
              </a:ext>
            </a:extLst>
          </p:cNvPr>
          <p:cNvGrpSpPr/>
          <p:nvPr/>
        </p:nvGrpSpPr>
        <p:grpSpPr>
          <a:xfrm>
            <a:off x="7460186" y="0"/>
            <a:ext cx="4731814" cy="3937626"/>
            <a:chOff x="7460186" y="0"/>
            <a:chExt cx="4731814" cy="4310772"/>
          </a:xfrm>
        </p:grpSpPr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xmlns="" id="{706B3294-9C69-414A-8AF8-8931A74069AA}"/>
                </a:ext>
              </a:extLst>
            </p:cNvPr>
            <p:cNvSpPr/>
            <p:nvPr/>
          </p:nvSpPr>
          <p:spPr>
            <a:xfrm>
              <a:off x="7460186" y="0"/>
              <a:ext cx="4731814" cy="4310772"/>
            </a:xfrm>
            <a:custGeom>
              <a:avLst/>
              <a:gdLst>
                <a:gd name="connsiteX0" fmla="*/ 0 w 4731814"/>
                <a:gd name="connsiteY0" fmla="*/ 0 h 4310772"/>
                <a:gd name="connsiteX1" fmla="*/ 4731814 w 4731814"/>
                <a:gd name="connsiteY1" fmla="*/ 0 h 4310772"/>
                <a:gd name="connsiteX2" fmla="*/ 4731814 w 4731814"/>
                <a:gd name="connsiteY2" fmla="*/ 4310772 h 4310772"/>
                <a:gd name="connsiteX3" fmla="*/ 4717328 w 4731814"/>
                <a:gd name="connsiteY3" fmla="*/ 4297065 h 4310772"/>
                <a:gd name="connsiteX4" fmla="*/ 4490514 w 4731814"/>
                <a:gd name="connsiteY4" fmla="*/ 4013200 h 4310772"/>
                <a:gd name="connsiteX5" fmla="*/ 4084114 w 4731814"/>
                <a:gd name="connsiteY5" fmla="*/ 2362200 h 4310772"/>
                <a:gd name="connsiteX6" fmla="*/ 947214 w 4731814"/>
                <a:gd name="connsiteY6" fmla="*/ 1549400 h 4310772"/>
                <a:gd name="connsiteX7" fmla="*/ 8269 w 4731814"/>
                <a:gd name="connsiteY7" fmla="*/ 22668 h 4310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731814" h="4310772">
                  <a:moveTo>
                    <a:pt x="0" y="0"/>
                  </a:moveTo>
                  <a:lnTo>
                    <a:pt x="4731814" y="0"/>
                  </a:lnTo>
                  <a:lnTo>
                    <a:pt x="4731814" y="4310772"/>
                  </a:lnTo>
                  <a:lnTo>
                    <a:pt x="4717328" y="4297065"/>
                  </a:lnTo>
                  <a:cubicBezTo>
                    <a:pt x="4629949" y="4206081"/>
                    <a:pt x="4551897" y="4107921"/>
                    <a:pt x="4490514" y="4013200"/>
                  </a:cubicBezTo>
                  <a:cubicBezTo>
                    <a:pt x="4244981" y="3634317"/>
                    <a:pt x="4674664" y="2772833"/>
                    <a:pt x="4084114" y="2362200"/>
                  </a:cubicBezTo>
                  <a:cubicBezTo>
                    <a:pt x="3493564" y="1951567"/>
                    <a:pt x="1643597" y="1981200"/>
                    <a:pt x="947214" y="1549400"/>
                  </a:cubicBezTo>
                  <a:cubicBezTo>
                    <a:pt x="381403" y="1198563"/>
                    <a:pt x="164924" y="464856"/>
                    <a:pt x="8269" y="22668"/>
                  </a:cubicBezTo>
                  <a:close/>
                </a:path>
              </a:pathLst>
            </a:custGeom>
            <a:solidFill>
              <a:srgbClr val="D3E3FF">
                <a:alpha val="30000"/>
              </a:srgbClr>
            </a:solidFill>
            <a:ln w="28107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xmlns="" id="{FD713A7F-9942-4F2B-B35B-755F3370B712}"/>
                </a:ext>
              </a:extLst>
            </p:cNvPr>
            <p:cNvSpPr/>
            <p:nvPr/>
          </p:nvSpPr>
          <p:spPr>
            <a:xfrm>
              <a:off x="8599488" y="0"/>
              <a:ext cx="3592512" cy="3076320"/>
            </a:xfrm>
            <a:custGeom>
              <a:avLst/>
              <a:gdLst>
                <a:gd name="connsiteX0" fmla="*/ 266 w 3592512"/>
                <a:gd name="connsiteY0" fmla="*/ 0 h 3076320"/>
                <a:gd name="connsiteX1" fmla="*/ 3592512 w 3592512"/>
                <a:gd name="connsiteY1" fmla="*/ 0 h 3076320"/>
                <a:gd name="connsiteX2" fmla="*/ 3592512 w 3592512"/>
                <a:gd name="connsiteY2" fmla="*/ 3076320 h 3076320"/>
                <a:gd name="connsiteX3" fmla="*/ 3542704 w 3592512"/>
                <a:gd name="connsiteY3" fmla="*/ 2998490 h 3076320"/>
                <a:gd name="connsiteX4" fmla="*/ 3427412 w 3592512"/>
                <a:gd name="connsiteY4" fmla="*/ 2743200 h 3076320"/>
                <a:gd name="connsiteX5" fmla="*/ 3097212 w 3592512"/>
                <a:gd name="connsiteY5" fmla="*/ 1003300 h 3076320"/>
                <a:gd name="connsiteX6" fmla="*/ 366712 w 3592512"/>
                <a:gd name="connsiteY6" fmla="*/ 520700 h 3076320"/>
                <a:gd name="connsiteX7" fmla="*/ 0 w 3592512"/>
                <a:gd name="connsiteY7" fmla="*/ 26988 h 3076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592512" h="3076320">
                  <a:moveTo>
                    <a:pt x="266" y="0"/>
                  </a:moveTo>
                  <a:lnTo>
                    <a:pt x="3592512" y="0"/>
                  </a:lnTo>
                  <a:lnTo>
                    <a:pt x="3592512" y="3076320"/>
                  </a:lnTo>
                  <a:lnTo>
                    <a:pt x="3542704" y="2998490"/>
                  </a:lnTo>
                  <a:cubicBezTo>
                    <a:pt x="3500702" y="2925233"/>
                    <a:pt x="3461279" y="2840038"/>
                    <a:pt x="3427412" y="2743200"/>
                  </a:cubicBezTo>
                  <a:cubicBezTo>
                    <a:pt x="3291945" y="2355850"/>
                    <a:pt x="3607329" y="1373717"/>
                    <a:pt x="3097212" y="1003300"/>
                  </a:cubicBezTo>
                  <a:cubicBezTo>
                    <a:pt x="2587095" y="632883"/>
                    <a:pt x="859895" y="759883"/>
                    <a:pt x="366712" y="520700"/>
                  </a:cubicBezTo>
                  <a:cubicBezTo>
                    <a:pt x="120121" y="401109"/>
                    <a:pt x="17991" y="211138"/>
                    <a:pt x="0" y="26988"/>
                  </a:cubicBezTo>
                  <a:close/>
                </a:path>
              </a:pathLst>
            </a:custGeom>
            <a:solidFill>
              <a:srgbClr val="D3E3FF">
                <a:alpha val="30000"/>
              </a:srgbClr>
            </a:solidFill>
            <a:ln w="28107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</p:grpSp>
      <p:pic>
        <p:nvPicPr>
          <p:cNvPr id="92" name="Graphic 91">
            <a:extLst>
              <a:ext uri="{FF2B5EF4-FFF2-40B4-BE49-F238E27FC236}">
                <a16:creationId xmlns:a16="http://schemas.microsoft.com/office/drawing/2014/main" xmlns="" id="{8F63E48F-54E2-4FBF-A316-2B075129FFE4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rcRect l="42023" b="11959"/>
          <a:stretch/>
        </p:blipFill>
        <p:spPr>
          <a:xfrm flipH="1">
            <a:off x="10786629" y="3599006"/>
            <a:ext cx="1405369" cy="3258994"/>
          </a:xfrm>
          <a:prstGeom prst="rect">
            <a:avLst/>
          </a:prstGeom>
        </p:spPr>
      </p:pic>
      <p:grpSp>
        <p:nvGrpSpPr>
          <p:cNvPr id="94" name="Graphic 92">
            <a:extLst>
              <a:ext uri="{FF2B5EF4-FFF2-40B4-BE49-F238E27FC236}">
                <a16:creationId xmlns:a16="http://schemas.microsoft.com/office/drawing/2014/main" xmlns="" id="{BC6040E5-8201-4741-B40F-36FE98FEBEF0}"/>
              </a:ext>
            </a:extLst>
          </p:cNvPr>
          <p:cNvGrpSpPr/>
          <p:nvPr/>
        </p:nvGrpSpPr>
        <p:grpSpPr>
          <a:xfrm>
            <a:off x="10083614" y="945655"/>
            <a:ext cx="1080381" cy="1474780"/>
            <a:chOff x="9183832" y="775579"/>
            <a:chExt cx="1080381" cy="1474780"/>
          </a:xfrm>
        </p:grpSpPr>
        <p:grpSp>
          <p:nvGrpSpPr>
            <p:cNvPr id="95" name="Graphic 92">
              <a:extLst>
                <a:ext uri="{FF2B5EF4-FFF2-40B4-BE49-F238E27FC236}">
                  <a16:creationId xmlns:a16="http://schemas.microsoft.com/office/drawing/2014/main" xmlns="" id="{BC6040E5-8201-4741-B40F-36FE98FEBEF0}"/>
                </a:ext>
              </a:extLst>
            </p:cNvPr>
            <p:cNvGrpSpPr/>
            <p:nvPr/>
          </p:nvGrpSpPr>
          <p:grpSpPr>
            <a:xfrm>
              <a:off x="9183832" y="775579"/>
              <a:ext cx="1080381" cy="1474780"/>
              <a:chOff x="9183832" y="775579"/>
              <a:chExt cx="1080381" cy="1474780"/>
            </a:xfrm>
          </p:grpSpPr>
          <p:sp>
            <p:nvSpPr>
              <p:cNvPr id="96" name="Freeform: Shape 95">
                <a:extLst>
                  <a:ext uri="{FF2B5EF4-FFF2-40B4-BE49-F238E27FC236}">
                    <a16:creationId xmlns:a16="http://schemas.microsoft.com/office/drawing/2014/main" xmlns="" id="{98D3D2FC-EB4B-4B77-A9BF-24116A5BED32}"/>
                  </a:ext>
                </a:extLst>
              </p:cNvPr>
              <p:cNvSpPr/>
              <p:nvPr/>
            </p:nvSpPr>
            <p:spPr>
              <a:xfrm>
                <a:off x="9183832" y="775579"/>
                <a:ext cx="1080381" cy="1167791"/>
              </a:xfrm>
              <a:custGeom>
                <a:avLst/>
                <a:gdLst>
                  <a:gd name="connsiteX0" fmla="*/ 1080350 w 1080381"/>
                  <a:gd name="connsiteY0" fmla="*/ 545894 h 1167791"/>
                  <a:gd name="connsiteX1" fmla="*/ 545892 w 1080381"/>
                  <a:gd name="connsiteY1" fmla="*/ 31 h 1167791"/>
                  <a:gd name="connsiteX2" fmla="*/ 29 w 1080381"/>
                  <a:gd name="connsiteY2" fmla="*/ 534489 h 1167791"/>
                  <a:gd name="connsiteX3" fmla="*/ 304800 w 1080381"/>
                  <a:gd name="connsiteY3" fmla="*/ 1026495 h 1167791"/>
                  <a:gd name="connsiteX4" fmla="*/ 303216 w 1080381"/>
                  <a:gd name="connsiteY4" fmla="*/ 1162723 h 1167791"/>
                  <a:gd name="connsiteX5" fmla="*/ 776530 w 1080381"/>
                  <a:gd name="connsiteY5" fmla="*/ 1167792 h 1167791"/>
                  <a:gd name="connsiteX6" fmla="*/ 781915 w 1080381"/>
                  <a:gd name="connsiteY6" fmla="*/ 1023010 h 1167791"/>
                  <a:gd name="connsiteX7" fmla="*/ 1080350 w 1080381"/>
                  <a:gd name="connsiteY7" fmla="*/ 545894 h 11677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80381" h="1167791">
                    <a:moveTo>
                      <a:pt x="1080350" y="545894"/>
                    </a:moveTo>
                    <a:cubicBezTo>
                      <a:pt x="1083518" y="247460"/>
                      <a:pt x="844010" y="3199"/>
                      <a:pt x="545892" y="31"/>
                    </a:cubicBezTo>
                    <a:cubicBezTo>
                      <a:pt x="247457" y="-3137"/>
                      <a:pt x="3197" y="236371"/>
                      <a:pt x="29" y="534489"/>
                    </a:cubicBezTo>
                    <a:cubicBezTo>
                      <a:pt x="-2189" y="750554"/>
                      <a:pt x="122634" y="938105"/>
                      <a:pt x="304800" y="1026495"/>
                    </a:cubicBezTo>
                    <a:cubicBezTo>
                      <a:pt x="304166" y="1090490"/>
                      <a:pt x="303216" y="1162723"/>
                      <a:pt x="303216" y="1162723"/>
                    </a:cubicBezTo>
                    <a:lnTo>
                      <a:pt x="776530" y="1167792"/>
                    </a:lnTo>
                    <a:cubicBezTo>
                      <a:pt x="776530" y="1167792"/>
                      <a:pt x="780331" y="1091441"/>
                      <a:pt x="781915" y="1023010"/>
                    </a:cubicBezTo>
                    <a:cubicBezTo>
                      <a:pt x="957111" y="934937"/>
                      <a:pt x="1078133" y="754989"/>
                      <a:pt x="1080350" y="545894"/>
                    </a:cubicBezTo>
                    <a:close/>
                  </a:path>
                </a:pathLst>
              </a:custGeom>
              <a:solidFill>
                <a:srgbClr val="4399FF"/>
              </a:solidFill>
              <a:ln w="316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7" name="Freeform: Shape 96">
                <a:extLst>
                  <a:ext uri="{FF2B5EF4-FFF2-40B4-BE49-F238E27FC236}">
                    <a16:creationId xmlns:a16="http://schemas.microsoft.com/office/drawing/2014/main" xmlns="" id="{89C76375-87DB-47EF-927E-9D2FBAFB26DD}"/>
                  </a:ext>
                </a:extLst>
              </p:cNvPr>
              <p:cNvSpPr/>
              <p:nvPr/>
            </p:nvSpPr>
            <p:spPr>
              <a:xfrm>
                <a:off x="9433541" y="1316173"/>
                <a:ext cx="595839" cy="623079"/>
              </a:xfrm>
              <a:custGeom>
                <a:avLst/>
                <a:gdLst>
                  <a:gd name="connsiteX0" fmla="*/ 356061 w 595839"/>
                  <a:gd name="connsiteY0" fmla="*/ 623080 h 623079"/>
                  <a:gd name="connsiteX1" fmla="*/ 356695 w 595839"/>
                  <a:gd name="connsiteY1" fmla="*/ 616427 h 623079"/>
                  <a:gd name="connsiteX2" fmla="*/ 359229 w 595839"/>
                  <a:gd name="connsiteY2" fmla="*/ 597101 h 623079"/>
                  <a:gd name="connsiteX3" fmla="*/ 370001 w 595839"/>
                  <a:gd name="connsiteY3" fmla="*/ 522334 h 623079"/>
                  <a:gd name="connsiteX4" fmla="*/ 392811 w 595839"/>
                  <a:gd name="connsiteY4" fmla="*/ 405115 h 623079"/>
                  <a:gd name="connsiteX5" fmla="*/ 443500 w 595839"/>
                  <a:gd name="connsiteY5" fmla="*/ 255264 h 623079"/>
                  <a:gd name="connsiteX6" fmla="*/ 488804 w 595839"/>
                  <a:gd name="connsiteY6" fmla="*/ 174794 h 623079"/>
                  <a:gd name="connsiteX7" fmla="*/ 526188 w 595839"/>
                  <a:gd name="connsiteY7" fmla="*/ 142162 h 623079"/>
                  <a:gd name="connsiteX8" fmla="*/ 577511 w 595839"/>
                  <a:gd name="connsiteY8" fmla="*/ 144380 h 623079"/>
                  <a:gd name="connsiteX9" fmla="*/ 594302 w 595839"/>
                  <a:gd name="connsiteY9" fmla="*/ 165923 h 623079"/>
                  <a:gd name="connsiteX10" fmla="*/ 591767 w 595839"/>
                  <a:gd name="connsiteY10" fmla="*/ 193486 h 623079"/>
                  <a:gd name="connsiteX11" fmla="*/ 549632 w 595839"/>
                  <a:gd name="connsiteY11" fmla="*/ 228968 h 623079"/>
                  <a:gd name="connsiteX12" fmla="*/ 437481 w 595839"/>
                  <a:gd name="connsiteY12" fmla="*/ 219781 h 623079"/>
                  <a:gd name="connsiteX13" fmla="*/ 362080 w 595839"/>
                  <a:gd name="connsiteY13" fmla="*/ 128856 h 623079"/>
                  <a:gd name="connsiteX14" fmla="*/ 359546 w 595839"/>
                  <a:gd name="connsiteY14" fmla="*/ 66445 h 623079"/>
                  <a:gd name="connsiteX15" fmla="*/ 408968 w 595839"/>
                  <a:gd name="connsiteY15" fmla="*/ 29378 h 623079"/>
                  <a:gd name="connsiteX16" fmla="*/ 436214 w 595839"/>
                  <a:gd name="connsiteY16" fmla="*/ 48704 h 623079"/>
                  <a:gd name="connsiteX17" fmla="*/ 440332 w 595839"/>
                  <a:gd name="connsiteY17" fmla="*/ 81969 h 623079"/>
                  <a:gd name="connsiteX18" fmla="*/ 401682 w 595839"/>
                  <a:gd name="connsiteY18" fmla="*/ 135193 h 623079"/>
                  <a:gd name="connsiteX19" fmla="*/ 275274 w 595839"/>
                  <a:gd name="connsiteY19" fmla="*/ 170358 h 623079"/>
                  <a:gd name="connsiteX20" fmla="*/ 171678 w 595839"/>
                  <a:gd name="connsiteY20" fmla="*/ 91473 h 623079"/>
                  <a:gd name="connsiteX21" fmla="*/ 168826 w 595839"/>
                  <a:gd name="connsiteY21" fmla="*/ 25893 h 623079"/>
                  <a:gd name="connsiteX22" fmla="*/ 192904 w 595839"/>
                  <a:gd name="connsiteY22" fmla="*/ 2132 h 623079"/>
                  <a:gd name="connsiteX23" fmla="*/ 226169 w 595839"/>
                  <a:gd name="connsiteY23" fmla="*/ 5617 h 623079"/>
                  <a:gd name="connsiteX24" fmla="*/ 248662 w 595839"/>
                  <a:gd name="connsiteY24" fmla="*/ 29695 h 623079"/>
                  <a:gd name="connsiteX25" fmla="*/ 256583 w 595839"/>
                  <a:gd name="connsiteY25" fmla="*/ 60742 h 623079"/>
                  <a:gd name="connsiteX26" fmla="*/ 247712 w 595839"/>
                  <a:gd name="connsiteY26" fmla="*/ 122520 h 623079"/>
                  <a:gd name="connsiteX27" fmla="*/ 170727 w 595839"/>
                  <a:gd name="connsiteY27" fmla="*/ 212177 h 623079"/>
                  <a:gd name="connsiteX28" fmla="*/ 58893 w 595839"/>
                  <a:gd name="connsiteY28" fmla="*/ 226434 h 623079"/>
                  <a:gd name="connsiteX29" fmla="*/ 10422 w 595839"/>
                  <a:gd name="connsiteY29" fmla="*/ 200139 h 623079"/>
                  <a:gd name="connsiteX30" fmla="*/ 7887 w 595839"/>
                  <a:gd name="connsiteY30" fmla="*/ 148182 h 623079"/>
                  <a:gd name="connsiteX31" fmla="*/ 32281 w 595839"/>
                  <a:gd name="connsiteY31" fmla="*/ 136460 h 623079"/>
                  <a:gd name="connsiteX32" fmla="*/ 57943 w 595839"/>
                  <a:gd name="connsiteY32" fmla="*/ 141846 h 623079"/>
                  <a:gd name="connsiteX33" fmla="*/ 90574 w 595839"/>
                  <a:gd name="connsiteY33" fmla="*/ 179229 h 623079"/>
                  <a:gd name="connsiteX34" fmla="*/ 125107 w 595839"/>
                  <a:gd name="connsiteY34" fmla="*/ 264451 h 623079"/>
                  <a:gd name="connsiteX35" fmla="*/ 216665 w 595839"/>
                  <a:gd name="connsiteY35" fmla="*/ 526136 h 623079"/>
                  <a:gd name="connsiteX36" fmla="*/ 238841 w 595839"/>
                  <a:gd name="connsiteY36" fmla="*/ 598052 h 623079"/>
                  <a:gd name="connsiteX37" fmla="*/ 244227 w 595839"/>
                  <a:gd name="connsiteY37" fmla="*/ 616743 h 623079"/>
                  <a:gd name="connsiteX38" fmla="*/ 245811 w 595839"/>
                  <a:gd name="connsiteY38" fmla="*/ 623080 h 623079"/>
                  <a:gd name="connsiteX39" fmla="*/ 243593 w 595839"/>
                  <a:gd name="connsiteY39" fmla="*/ 616743 h 623079"/>
                  <a:gd name="connsiteX40" fmla="*/ 237574 w 595839"/>
                  <a:gd name="connsiteY40" fmla="*/ 598052 h 623079"/>
                  <a:gd name="connsiteX41" fmla="*/ 214130 w 595839"/>
                  <a:gd name="connsiteY41" fmla="*/ 526453 h 623079"/>
                  <a:gd name="connsiteX42" fmla="*/ 120671 w 595839"/>
                  <a:gd name="connsiteY42" fmla="*/ 265718 h 623079"/>
                  <a:gd name="connsiteX43" fmla="*/ 85822 w 595839"/>
                  <a:gd name="connsiteY43" fmla="*/ 181130 h 623079"/>
                  <a:gd name="connsiteX44" fmla="*/ 55409 w 595839"/>
                  <a:gd name="connsiteY44" fmla="*/ 146281 h 623079"/>
                  <a:gd name="connsiteX45" fmla="*/ 11689 w 595839"/>
                  <a:gd name="connsiteY45" fmla="*/ 151350 h 623079"/>
                  <a:gd name="connsiteX46" fmla="*/ 14223 w 595839"/>
                  <a:gd name="connsiteY46" fmla="*/ 197287 h 623079"/>
                  <a:gd name="connsiteX47" fmla="*/ 59527 w 595839"/>
                  <a:gd name="connsiteY47" fmla="*/ 221365 h 623079"/>
                  <a:gd name="connsiteX48" fmla="*/ 167242 w 595839"/>
                  <a:gd name="connsiteY48" fmla="*/ 207425 h 623079"/>
                  <a:gd name="connsiteX49" fmla="*/ 241059 w 595839"/>
                  <a:gd name="connsiteY49" fmla="*/ 120936 h 623079"/>
                  <a:gd name="connsiteX50" fmla="*/ 249613 w 595839"/>
                  <a:gd name="connsiteY50" fmla="*/ 62010 h 623079"/>
                  <a:gd name="connsiteX51" fmla="*/ 222367 w 595839"/>
                  <a:gd name="connsiteY51" fmla="*/ 11954 h 623079"/>
                  <a:gd name="connsiteX52" fmla="*/ 194488 w 595839"/>
                  <a:gd name="connsiteY52" fmla="*/ 9102 h 623079"/>
                  <a:gd name="connsiteX53" fmla="*/ 174529 w 595839"/>
                  <a:gd name="connsiteY53" fmla="*/ 29061 h 623079"/>
                  <a:gd name="connsiteX54" fmla="*/ 177380 w 595839"/>
                  <a:gd name="connsiteY54" fmla="*/ 89255 h 623079"/>
                  <a:gd name="connsiteX55" fmla="*/ 276225 w 595839"/>
                  <a:gd name="connsiteY55" fmla="*/ 164339 h 623079"/>
                  <a:gd name="connsiteX56" fmla="*/ 397246 w 595839"/>
                  <a:gd name="connsiteY56" fmla="*/ 130440 h 623079"/>
                  <a:gd name="connsiteX57" fmla="*/ 433679 w 595839"/>
                  <a:gd name="connsiteY57" fmla="*/ 80701 h 623079"/>
                  <a:gd name="connsiteX58" fmla="*/ 430194 w 595839"/>
                  <a:gd name="connsiteY58" fmla="*/ 51872 h 623079"/>
                  <a:gd name="connsiteX59" fmla="*/ 408018 w 595839"/>
                  <a:gd name="connsiteY59" fmla="*/ 36031 h 623079"/>
                  <a:gd name="connsiteX60" fmla="*/ 381089 w 595839"/>
                  <a:gd name="connsiteY60" fmla="*/ 44268 h 623079"/>
                  <a:gd name="connsiteX61" fmla="*/ 365565 w 595839"/>
                  <a:gd name="connsiteY61" fmla="*/ 68346 h 623079"/>
                  <a:gd name="connsiteX62" fmla="*/ 368100 w 595839"/>
                  <a:gd name="connsiteY62" fmla="*/ 126956 h 623079"/>
                  <a:gd name="connsiteX63" fmla="*/ 440016 w 595839"/>
                  <a:gd name="connsiteY63" fmla="*/ 214078 h 623079"/>
                  <a:gd name="connsiteX64" fmla="*/ 547414 w 595839"/>
                  <a:gd name="connsiteY64" fmla="*/ 223266 h 623079"/>
                  <a:gd name="connsiteX65" fmla="*/ 586382 w 595839"/>
                  <a:gd name="connsiteY65" fmla="*/ 190634 h 623079"/>
                  <a:gd name="connsiteX66" fmla="*/ 574343 w 595839"/>
                  <a:gd name="connsiteY66" fmla="*/ 148499 h 623079"/>
                  <a:gd name="connsiteX67" fmla="*/ 528089 w 595839"/>
                  <a:gd name="connsiteY67" fmla="*/ 146281 h 623079"/>
                  <a:gd name="connsiteX68" fmla="*/ 492606 w 595839"/>
                  <a:gd name="connsiteY68" fmla="*/ 177328 h 623079"/>
                  <a:gd name="connsiteX69" fmla="*/ 447619 w 595839"/>
                  <a:gd name="connsiteY69" fmla="*/ 256531 h 623079"/>
                  <a:gd name="connsiteX70" fmla="*/ 396296 w 595839"/>
                  <a:gd name="connsiteY70" fmla="*/ 405115 h 623079"/>
                  <a:gd name="connsiteX71" fmla="*/ 372535 w 595839"/>
                  <a:gd name="connsiteY71" fmla="*/ 521701 h 623079"/>
                  <a:gd name="connsiteX72" fmla="*/ 360496 w 595839"/>
                  <a:gd name="connsiteY72" fmla="*/ 596151 h 623079"/>
                  <a:gd name="connsiteX73" fmla="*/ 357328 w 595839"/>
                  <a:gd name="connsiteY73" fmla="*/ 615476 h 623079"/>
                  <a:gd name="connsiteX74" fmla="*/ 356061 w 595839"/>
                  <a:gd name="connsiteY74" fmla="*/ 623080 h 6230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</a:cxnLst>
                <a:rect l="l" t="t" r="r" b="b"/>
                <a:pathLst>
                  <a:path w="595839" h="623079">
                    <a:moveTo>
                      <a:pt x="356061" y="623080"/>
                    </a:moveTo>
                    <a:cubicBezTo>
                      <a:pt x="356061" y="623080"/>
                      <a:pt x="356061" y="620862"/>
                      <a:pt x="356695" y="616427"/>
                    </a:cubicBezTo>
                    <a:cubicBezTo>
                      <a:pt x="357328" y="611675"/>
                      <a:pt x="357962" y="605338"/>
                      <a:pt x="359229" y="597101"/>
                    </a:cubicBezTo>
                    <a:cubicBezTo>
                      <a:pt x="361447" y="579994"/>
                      <a:pt x="364932" y="554649"/>
                      <a:pt x="370001" y="522334"/>
                    </a:cubicBezTo>
                    <a:cubicBezTo>
                      <a:pt x="375069" y="490020"/>
                      <a:pt x="382039" y="450418"/>
                      <a:pt x="392811" y="405115"/>
                    </a:cubicBezTo>
                    <a:cubicBezTo>
                      <a:pt x="403899" y="359811"/>
                      <a:pt x="418789" y="308804"/>
                      <a:pt x="443500" y="255264"/>
                    </a:cubicBezTo>
                    <a:cubicBezTo>
                      <a:pt x="455856" y="228652"/>
                      <a:pt x="470112" y="201406"/>
                      <a:pt x="488804" y="174794"/>
                    </a:cubicBezTo>
                    <a:cubicBezTo>
                      <a:pt x="498309" y="161805"/>
                      <a:pt x="510347" y="149132"/>
                      <a:pt x="526188" y="142162"/>
                    </a:cubicBezTo>
                    <a:cubicBezTo>
                      <a:pt x="542028" y="134876"/>
                      <a:pt x="561670" y="134876"/>
                      <a:pt x="577511" y="144380"/>
                    </a:cubicBezTo>
                    <a:cubicBezTo>
                      <a:pt x="585431" y="149132"/>
                      <a:pt x="592084" y="156736"/>
                      <a:pt x="594302" y="165923"/>
                    </a:cubicBezTo>
                    <a:cubicBezTo>
                      <a:pt x="597153" y="175111"/>
                      <a:pt x="595886" y="185249"/>
                      <a:pt x="591767" y="193486"/>
                    </a:cubicBezTo>
                    <a:cubicBezTo>
                      <a:pt x="583214" y="210593"/>
                      <a:pt x="567056" y="222315"/>
                      <a:pt x="549632" y="228968"/>
                    </a:cubicBezTo>
                    <a:cubicBezTo>
                      <a:pt x="513832" y="241007"/>
                      <a:pt x="472647" y="237522"/>
                      <a:pt x="437481" y="219781"/>
                    </a:cubicBezTo>
                    <a:cubicBezTo>
                      <a:pt x="401998" y="202039"/>
                      <a:pt x="373802" y="168458"/>
                      <a:pt x="362080" y="128856"/>
                    </a:cubicBezTo>
                    <a:cubicBezTo>
                      <a:pt x="356378" y="109214"/>
                      <a:pt x="353526" y="87671"/>
                      <a:pt x="359546" y="66445"/>
                    </a:cubicBezTo>
                    <a:cubicBezTo>
                      <a:pt x="364932" y="45535"/>
                      <a:pt x="385524" y="27160"/>
                      <a:pt x="408968" y="29378"/>
                    </a:cubicBezTo>
                    <a:cubicBezTo>
                      <a:pt x="420690" y="30329"/>
                      <a:pt x="431145" y="38566"/>
                      <a:pt x="436214" y="48704"/>
                    </a:cubicBezTo>
                    <a:cubicBezTo>
                      <a:pt x="441600" y="58841"/>
                      <a:pt x="442867" y="70880"/>
                      <a:pt x="440332" y="81969"/>
                    </a:cubicBezTo>
                    <a:cubicBezTo>
                      <a:pt x="434947" y="104462"/>
                      <a:pt x="418472" y="121253"/>
                      <a:pt x="401682" y="135193"/>
                    </a:cubicBezTo>
                    <a:cubicBezTo>
                      <a:pt x="367466" y="163072"/>
                      <a:pt x="320895" y="177962"/>
                      <a:pt x="275274" y="170358"/>
                    </a:cubicBezTo>
                    <a:cubicBezTo>
                      <a:pt x="230287" y="162755"/>
                      <a:pt x="190053" y="132341"/>
                      <a:pt x="171678" y="91473"/>
                    </a:cubicBezTo>
                    <a:cubicBezTo>
                      <a:pt x="162173" y="71197"/>
                      <a:pt x="159956" y="47119"/>
                      <a:pt x="168826" y="25893"/>
                    </a:cubicBezTo>
                    <a:cubicBezTo>
                      <a:pt x="173262" y="15438"/>
                      <a:pt x="181499" y="5934"/>
                      <a:pt x="192904" y="2132"/>
                    </a:cubicBezTo>
                    <a:cubicBezTo>
                      <a:pt x="203992" y="-1986"/>
                      <a:pt x="216348" y="232"/>
                      <a:pt x="226169" y="5617"/>
                    </a:cubicBezTo>
                    <a:cubicBezTo>
                      <a:pt x="235990" y="11003"/>
                      <a:pt x="243910" y="19557"/>
                      <a:pt x="248662" y="29695"/>
                    </a:cubicBezTo>
                    <a:cubicBezTo>
                      <a:pt x="253415" y="39516"/>
                      <a:pt x="255632" y="50288"/>
                      <a:pt x="256583" y="60742"/>
                    </a:cubicBezTo>
                    <a:cubicBezTo>
                      <a:pt x="257850" y="81969"/>
                      <a:pt x="254682" y="102878"/>
                      <a:pt x="247712" y="122520"/>
                    </a:cubicBezTo>
                    <a:cubicBezTo>
                      <a:pt x="234089" y="161488"/>
                      <a:pt x="205893" y="194436"/>
                      <a:pt x="170727" y="212177"/>
                    </a:cubicBezTo>
                    <a:cubicBezTo>
                      <a:pt x="135561" y="230552"/>
                      <a:pt x="95010" y="234988"/>
                      <a:pt x="58893" y="226434"/>
                    </a:cubicBezTo>
                    <a:cubicBezTo>
                      <a:pt x="40835" y="222315"/>
                      <a:pt x="22460" y="215029"/>
                      <a:pt x="10422" y="200139"/>
                    </a:cubicBezTo>
                    <a:cubicBezTo>
                      <a:pt x="-1300" y="185882"/>
                      <a:pt x="-4469" y="163072"/>
                      <a:pt x="7887" y="148182"/>
                    </a:cubicBezTo>
                    <a:cubicBezTo>
                      <a:pt x="14223" y="140895"/>
                      <a:pt x="23411" y="137093"/>
                      <a:pt x="32281" y="136460"/>
                    </a:cubicBezTo>
                    <a:cubicBezTo>
                      <a:pt x="41152" y="135826"/>
                      <a:pt x="50023" y="137727"/>
                      <a:pt x="57943" y="141846"/>
                    </a:cubicBezTo>
                    <a:cubicBezTo>
                      <a:pt x="73783" y="150083"/>
                      <a:pt x="83605" y="164973"/>
                      <a:pt x="90574" y="179229"/>
                    </a:cubicBezTo>
                    <a:cubicBezTo>
                      <a:pt x="103880" y="208692"/>
                      <a:pt x="114335" y="237205"/>
                      <a:pt x="125107" y="264451"/>
                    </a:cubicBezTo>
                    <a:cubicBezTo>
                      <a:pt x="167242" y="373750"/>
                      <a:pt x="197022" y="463724"/>
                      <a:pt x="216665" y="526136"/>
                    </a:cubicBezTo>
                    <a:cubicBezTo>
                      <a:pt x="226486" y="557183"/>
                      <a:pt x="233772" y="581578"/>
                      <a:pt x="238841" y="598052"/>
                    </a:cubicBezTo>
                    <a:cubicBezTo>
                      <a:pt x="241059" y="606289"/>
                      <a:pt x="242960" y="612308"/>
                      <a:pt x="244227" y="616743"/>
                    </a:cubicBezTo>
                    <a:cubicBezTo>
                      <a:pt x="245494" y="620862"/>
                      <a:pt x="245811" y="623080"/>
                      <a:pt x="245811" y="623080"/>
                    </a:cubicBezTo>
                    <a:cubicBezTo>
                      <a:pt x="245811" y="623080"/>
                      <a:pt x="244861" y="620862"/>
                      <a:pt x="243593" y="616743"/>
                    </a:cubicBezTo>
                    <a:cubicBezTo>
                      <a:pt x="242009" y="612308"/>
                      <a:pt x="240109" y="605972"/>
                      <a:pt x="237574" y="598052"/>
                    </a:cubicBezTo>
                    <a:cubicBezTo>
                      <a:pt x="232188" y="581261"/>
                      <a:pt x="224268" y="557183"/>
                      <a:pt x="214130" y="526453"/>
                    </a:cubicBezTo>
                    <a:cubicBezTo>
                      <a:pt x="193538" y="464358"/>
                      <a:pt x="163124" y="374701"/>
                      <a:pt x="120671" y="265718"/>
                    </a:cubicBezTo>
                    <a:cubicBezTo>
                      <a:pt x="109900" y="238789"/>
                      <a:pt x="98811" y="209643"/>
                      <a:pt x="85822" y="181130"/>
                    </a:cubicBezTo>
                    <a:cubicBezTo>
                      <a:pt x="78852" y="167190"/>
                      <a:pt x="69665" y="153251"/>
                      <a:pt x="55409" y="146281"/>
                    </a:cubicBezTo>
                    <a:cubicBezTo>
                      <a:pt x="41786" y="139311"/>
                      <a:pt x="22460" y="139311"/>
                      <a:pt x="11689" y="151350"/>
                    </a:cubicBezTo>
                    <a:cubicBezTo>
                      <a:pt x="1234" y="164339"/>
                      <a:pt x="3769" y="184615"/>
                      <a:pt x="14223" y="197287"/>
                    </a:cubicBezTo>
                    <a:cubicBezTo>
                      <a:pt x="24995" y="210593"/>
                      <a:pt x="42102" y="217563"/>
                      <a:pt x="59527" y="221365"/>
                    </a:cubicBezTo>
                    <a:cubicBezTo>
                      <a:pt x="94376" y="229602"/>
                      <a:pt x="133661" y="225167"/>
                      <a:pt x="167242" y="207425"/>
                    </a:cubicBezTo>
                    <a:cubicBezTo>
                      <a:pt x="201141" y="190001"/>
                      <a:pt x="228070" y="158637"/>
                      <a:pt x="241059" y="120936"/>
                    </a:cubicBezTo>
                    <a:cubicBezTo>
                      <a:pt x="247712" y="102244"/>
                      <a:pt x="250880" y="81969"/>
                      <a:pt x="249613" y="62010"/>
                    </a:cubicBezTo>
                    <a:cubicBezTo>
                      <a:pt x="248346" y="42367"/>
                      <a:pt x="240425" y="21458"/>
                      <a:pt x="222367" y="11954"/>
                    </a:cubicBezTo>
                    <a:cubicBezTo>
                      <a:pt x="213813" y="7201"/>
                      <a:pt x="203359" y="5617"/>
                      <a:pt x="194488" y="9102"/>
                    </a:cubicBezTo>
                    <a:cubicBezTo>
                      <a:pt x="185300" y="12270"/>
                      <a:pt x="178331" y="19874"/>
                      <a:pt x="174529" y="29061"/>
                    </a:cubicBezTo>
                    <a:cubicBezTo>
                      <a:pt x="166926" y="47753"/>
                      <a:pt x="168510" y="70247"/>
                      <a:pt x="177380" y="89255"/>
                    </a:cubicBezTo>
                    <a:cubicBezTo>
                      <a:pt x="194488" y="127906"/>
                      <a:pt x="233139" y="157052"/>
                      <a:pt x="276225" y="164339"/>
                    </a:cubicBezTo>
                    <a:cubicBezTo>
                      <a:pt x="319311" y="171626"/>
                      <a:pt x="364298" y="157369"/>
                      <a:pt x="397246" y="130440"/>
                    </a:cubicBezTo>
                    <a:cubicBezTo>
                      <a:pt x="413403" y="116818"/>
                      <a:pt x="428927" y="100660"/>
                      <a:pt x="433679" y="80701"/>
                    </a:cubicBezTo>
                    <a:cubicBezTo>
                      <a:pt x="435897" y="70880"/>
                      <a:pt x="434947" y="60425"/>
                      <a:pt x="430194" y="51872"/>
                    </a:cubicBezTo>
                    <a:cubicBezTo>
                      <a:pt x="425759" y="43318"/>
                      <a:pt x="417522" y="36665"/>
                      <a:pt x="408018" y="36031"/>
                    </a:cubicBezTo>
                    <a:cubicBezTo>
                      <a:pt x="398513" y="35081"/>
                      <a:pt x="388692" y="38566"/>
                      <a:pt x="381089" y="44268"/>
                    </a:cubicBezTo>
                    <a:cubicBezTo>
                      <a:pt x="373485" y="50288"/>
                      <a:pt x="368100" y="58841"/>
                      <a:pt x="365565" y="68346"/>
                    </a:cubicBezTo>
                    <a:cubicBezTo>
                      <a:pt x="359863" y="87354"/>
                      <a:pt x="362714" y="108264"/>
                      <a:pt x="368100" y="126956"/>
                    </a:cubicBezTo>
                    <a:cubicBezTo>
                      <a:pt x="379188" y="164973"/>
                      <a:pt x="406117" y="197287"/>
                      <a:pt x="440016" y="214078"/>
                    </a:cubicBezTo>
                    <a:cubicBezTo>
                      <a:pt x="473597" y="231186"/>
                      <a:pt x="513832" y="234671"/>
                      <a:pt x="547414" y="223266"/>
                    </a:cubicBezTo>
                    <a:cubicBezTo>
                      <a:pt x="563888" y="216930"/>
                      <a:pt x="579095" y="205841"/>
                      <a:pt x="586382" y="190634"/>
                    </a:cubicBezTo>
                    <a:cubicBezTo>
                      <a:pt x="594302" y="175744"/>
                      <a:pt x="588599" y="156419"/>
                      <a:pt x="574343" y="148499"/>
                    </a:cubicBezTo>
                    <a:cubicBezTo>
                      <a:pt x="560403" y="140262"/>
                      <a:pt x="542345" y="139628"/>
                      <a:pt x="528089" y="146281"/>
                    </a:cubicBezTo>
                    <a:cubicBezTo>
                      <a:pt x="513515" y="152934"/>
                      <a:pt x="502110" y="164656"/>
                      <a:pt x="492606" y="177328"/>
                    </a:cubicBezTo>
                    <a:cubicBezTo>
                      <a:pt x="474231" y="202990"/>
                      <a:pt x="459975" y="230236"/>
                      <a:pt x="447619" y="256531"/>
                    </a:cubicBezTo>
                    <a:cubicBezTo>
                      <a:pt x="422908" y="309438"/>
                      <a:pt x="407701" y="360128"/>
                      <a:pt x="396296" y="405115"/>
                    </a:cubicBezTo>
                    <a:cubicBezTo>
                      <a:pt x="385207" y="450102"/>
                      <a:pt x="377921" y="489703"/>
                      <a:pt x="372535" y="521701"/>
                    </a:cubicBezTo>
                    <a:cubicBezTo>
                      <a:pt x="367466" y="553698"/>
                      <a:pt x="363348" y="578726"/>
                      <a:pt x="360496" y="596151"/>
                    </a:cubicBezTo>
                    <a:cubicBezTo>
                      <a:pt x="359229" y="604388"/>
                      <a:pt x="358279" y="611041"/>
                      <a:pt x="357328" y="615476"/>
                    </a:cubicBezTo>
                    <a:cubicBezTo>
                      <a:pt x="356695" y="620862"/>
                      <a:pt x="356061" y="623080"/>
                      <a:pt x="356061" y="623080"/>
                    </a:cubicBezTo>
                    <a:close/>
                  </a:path>
                </a:pathLst>
              </a:custGeom>
              <a:solidFill>
                <a:srgbClr val="263238"/>
              </a:solidFill>
              <a:ln w="316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8" name="Freeform: Shape 97">
                <a:extLst>
                  <a:ext uri="{FF2B5EF4-FFF2-40B4-BE49-F238E27FC236}">
                    <a16:creationId xmlns:a16="http://schemas.microsoft.com/office/drawing/2014/main" xmlns="" id="{F4E587E6-FBE7-475C-BF10-3C7C135977D2}"/>
                  </a:ext>
                </a:extLst>
              </p:cNvPr>
              <p:cNvSpPr/>
              <p:nvPr/>
            </p:nvSpPr>
            <p:spPr>
              <a:xfrm>
                <a:off x="9486726" y="1965543"/>
                <a:ext cx="467305" cy="64956"/>
              </a:xfrm>
              <a:custGeom>
                <a:avLst/>
                <a:gdLst>
                  <a:gd name="connsiteX0" fmla="*/ 436569 w 467305"/>
                  <a:gd name="connsiteY0" fmla="*/ 64951 h 64956"/>
                  <a:gd name="connsiteX1" fmla="*/ 30102 w 467305"/>
                  <a:gd name="connsiteY1" fmla="*/ 60833 h 64956"/>
                  <a:gd name="connsiteX2" fmla="*/ 5 w 467305"/>
                  <a:gd name="connsiteY2" fmla="*/ 30102 h 64956"/>
                  <a:gd name="connsiteX3" fmla="*/ 5 w 467305"/>
                  <a:gd name="connsiteY3" fmla="*/ 30102 h 64956"/>
                  <a:gd name="connsiteX4" fmla="*/ 30736 w 467305"/>
                  <a:gd name="connsiteY4" fmla="*/ 5 h 64956"/>
                  <a:gd name="connsiteX5" fmla="*/ 437203 w 467305"/>
                  <a:gd name="connsiteY5" fmla="*/ 4124 h 64956"/>
                  <a:gd name="connsiteX6" fmla="*/ 467300 w 467305"/>
                  <a:gd name="connsiteY6" fmla="*/ 34854 h 64956"/>
                  <a:gd name="connsiteX7" fmla="*/ 467300 w 467305"/>
                  <a:gd name="connsiteY7" fmla="*/ 34854 h 64956"/>
                  <a:gd name="connsiteX8" fmla="*/ 436569 w 467305"/>
                  <a:gd name="connsiteY8" fmla="*/ 64951 h 64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67305" h="64956">
                    <a:moveTo>
                      <a:pt x="436569" y="64951"/>
                    </a:moveTo>
                    <a:lnTo>
                      <a:pt x="30102" y="60833"/>
                    </a:lnTo>
                    <a:cubicBezTo>
                      <a:pt x="13311" y="60516"/>
                      <a:pt x="-311" y="46893"/>
                      <a:pt x="5" y="30102"/>
                    </a:cubicBezTo>
                    <a:lnTo>
                      <a:pt x="5" y="30102"/>
                    </a:lnTo>
                    <a:cubicBezTo>
                      <a:pt x="322" y="13311"/>
                      <a:pt x="13945" y="-311"/>
                      <a:pt x="30736" y="5"/>
                    </a:cubicBezTo>
                    <a:lnTo>
                      <a:pt x="437203" y="4124"/>
                    </a:lnTo>
                    <a:cubicBezTo>
                      <a:pt x="453994" y="4441"/>
                      <a:pt x="467617" y="18064"/>
                      <a:pt x="467300" y="34854"/>
                    </a:cubicBezTo>
                    <a:lnTo>
                      <a:pt x="467300" y="34854"/>
                    </a:lnTo>
                    <a:cubicBezTo>
                      <a:pt x="467300" y="51645"/>
                      <a:pt x="453360" y="65268"/>
                      <a:pt x="436569" y="64951"/>
                    </a:cubicBezTo>
                    <a:close/>
                  </a:path>
                </a:pathLst>
              </a:custGeom>
              <a:solidFill>
                <a:srgbClr val="263238"/>
              </a:solidFill>
              <a:ln w="316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9" name="Freeform: Shape 98">
                <a:extLst>
                  <a:ext uri="{FF2B5EF4-FFF2-40B4-BE49-F238E27FC236}">
                    <a16:creationId xmlns:a16="http://schemas.microsoft.com/office/drawing/2014/main" xmlns="" id="{3C155DF3-4667-413B-9E27-7554C0555176}"/>
                  </a:ext>
                </a:extLst>
              </p:cNvPr>
              <p:cNvSpPr/>
              <p:nvPr/>
            </p:nvSpPr>
            <p:spPr>
              <a:xfrm>
                <a:off x="9485776" y="2052982"/>
                <a:ext cx="467305" cy="197377"/>
              </a:xfrm>
              <a:custGeom>
                <a:avLst/>
                <a:gdLst>
                  <a:gd name="connsiteX0" fmla="*/ 437203 w 467305"/>
                  <a:gd name="connsiteY0" fmla="*/ 4124 h 197377"/>
                  <a:gd name="connsiteX1" fmla="*/ 30736 w 467305"/>
                  <a:gd name="connsiteY1" fmla="*/ 5 h 197377"/>
                  <a:gd name="connsiteX2" fmla="*/ 5 w 467305"/>
                  <a:gd name="connsiteY2" fmla="*/ 30102 h 197377"/>
                  <a:gd name="connsiteX3" fmla="*/ 30102 w 467305"/>
                  <a:gd name="connsiteY3" fmla="*/ 60833 h 197377"/>
                  <a:gd name="connsiteX4" fmla="*/ 74773 w 467305"/>
                  <a:gd name="connsiteY4" fmla="*/ 61150 h 197377"/>
                  <a:gd name="connsiteX5" fmla="*/ 132749 w 467305"/>
                  <a:gd name="connsiteY5" fmla="*/ 174568 h 197377"/>
                  <a:gd name="connsiteX6" fmla="*/ 167281 w 467305"/>
                  <a:gd name="connsiteY6" fmla="*/ 195794 h 197377"/>
                  <a:gd name="connsiteX7" fmla="*/ 312380 w 467305"/>
                  <a:gd name="connsiteY7" fmla="*/ 197378 h 197377"/>
                  <a:gd name="connsiteX8" fmla="*/ 347546 w 467305"/>
                  <a:gd name="connsiteY8" fmla="*/ 176468 h 197377"/>
                  <a:gd name="connsiteX9" fmla="*/ 406155 w 467305"/>
                  <a:gd name="connsiteY9" fmla="*/ 64635 h 197377"/>
                  <a:gd name="connsiteX10" fmla="*/ 436569 w 467305"/>
                  <a:gd name="connsiteY10" fmla="*/ 64951 h 197377"/>
                  <a:gd name="connsiteX11" fmla="*/ 467300 w 467305"/>
                  <a:gd name="connsiteY11" fmla="*/ 34854 h 197377"/>
                  <a:gd name="connsiteX12" fmla="*/ 437203 w 467305"/>
                  <a:gd name="connsiteY12" fmla="*/ 4124 h 1973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67305" h="197377">
                    <a:moveTo>
                      <a:pt x="437203" y="4124"/>
                    </a:moveTo>
                    <a:lnTo>
                      <a:pt x="30736" y="5"/>
                    </a:lnTo>
                    <a:cubicBezTo>
                      <a:pt x="13945" y="-311"/>
                      <a:pt x="5" y="13311"/>
                      <a:pt x="5" y="30102"/>
                    </a:cubicBezTo>
                    <a:cubicBezTo>
                      <a:pt x="-311" y="46893"/>
                      <a:pt x="13311" y="60833"/>
                      <a:pt x="30102" y="60833"/>
                    </a:cubicBezTo>
                    <a:lnTo>
                      <a:pt x="74773" y="61150"/>
                    </a:lnTo>
                    <a:lnTo>
                      <a:pt x="132749" y="174568"/>
                    </a:lnTo>
                    <a:cubicBezTo>
                      <a:pt x="139402" y="187557"/>
                      <a:pt x="152708" y="195794"/>
                      <a:pt x="167281" y="195794"/>
                    </a:cubicBezTo>
                    <a:lnTo>
                      <a:pt x="312380" y="197378"/>
                    </a:lnTo>
                    <a:cubicBezTo>
                      <a:pt x="326953" y="197378"/>
                      <a:pt x="340576" y="189458"/>
                      <a:pt x="347546" y="176468"/>
                    </a:cubicBezTo>
                    <a:lnTo>
                      <a:pt x="406155" y="64635"/>
                    </a:lnTo>
                    <a:lnTo>
                      <a:pt x="436569" y="64951"/>
                    </a:lnTo>
                    <a:cubicBezTo>
                      <a:pt x="453360" y="65268"/>
                      <a:pt x="467300" y="51645"/>
                      <a:pt x="467300" y="34854"/>
                    </a:cubicBezTo>
                    <a:cubicBezTo>
                      <a:pt x="467617" y="18064"/>
                      <a:pt x="454311" y="4441"/>
                      <a:pt x="437203" y="4124"/>
                    </a:cubicBezTo>
                    <a:close/>
                  </a:path>
                </a:pathLst>
              </a:custGeom>
              <a:solidFill>
                <a:srgbClr val="263238"/>
              </a:solidFill>
              <a:ln w="3165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xmlns="" id="{C4DE2807-6625-4EE9-BF21-0A4B414F34FC}"/>
                </a:ext>
              </a:extLst>
            </p:cNvPr>
            <p:cNvSpPr/>
            <p:nvPr/>
          </p:nvSpPr>
          <p:spPr>
            <a:xfrm>
              <a:off x="9244110" y="873133"/>
              <a:ext cx="362143" cy="610832"/>
            </a:xfrm>
            <a:custGeom>
              <a:avLst/>
              <a:gdLst>
                <a:gd name="connsiteX0" fmla="*/ 136490 w 362143"/>
                <a:gd name="connsiteY0" fmla="*/ 94781 h 610832"/>
                <a:gd name="connsiteX1" fmla="*/ 245472 w 362143"/>
                <a:gd name="connsiteY1" fmla="*/ 24132 h 610832"/>
                <a:gd name="connsiteX2" fmla="*/ 329110 w 362143"/>
                <a:gd name="connsiteY2" fmla="*/ 688 h 610832"/>
                <a:gd name="connsiteX3" fmla="*/ 362058 w 362143"/>
                <a:gd name="connsiteY3" fmla="*/ 5123 h 610832"/>
                <a:gd name="connsiteX4" fmla="*/ 267649 w 362143"/>
                <a:gd name="connsiteY4" fmla="*/ 65317 h 610832"/>
                <a:gd name="connsiteX5" fmla="*/ 100057 w 362143"/>
                <a:gd name="connsiteY5" fmla="*/ 251918 h 610832"/>
                <a:gd name="connsiteX6" fmla="*/ 60456 w 362143"/>
                <a:gd name="connsiteY6" fmla="*/ 499347 h 610832"/>
                <a:gd name="connsiteX7" fmla="*/ 73128 w 362143"/>
                <a:gd name="connsiteY7" fmla="*/ 610547 h 610832"/>
                <a:gd name="connsiteX8" fmla="*/ 48734 w 362143"/>
                <a:gd name="connsiteY8" fmla="*/ 587737 h 610832"/>
                <a:gd name="connsiteX9" fmla="*/ 14201 w 362143"/>
                <a:gd name="connsiteY9" fmla="*/ 508217 h 610832"/>
                <a:gd name="connsiteX10" fmla="*/ 579 w 362143"/>
                <a:gd name="connsiteY10" fmla="*/ 378959 h 610832"/>
                <a:gd name="connsiteX11" fmla="*/ 39863 w 362143"/>
                <a:gd name="connsiteY11" fmla="*/ 223089 h 6108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62143" h="610832">
                  <a:moveTo>
                    <a:pt x="136490" y="94781"/>
                  </a:moveTo>
                  <a:cubicBezTo>
                    <a:pt x="173240" y="61516"/>
                    <a:pt x="211574" y="38389"/>
                    <a:pt x="245472" y="24132"/>
                  </a:cubicBezTo>
                  <a:cubicBezTo>
                    <a:pt x="279371" y="9559"/>
                    <a:pt x="308518" y="2589"/>
                    <a:pt x="329110" y="688"/>
                  </a:cubicBezTo>
                  <a:cubicBezTo>
                    <a:pt x="349703" y="-1213"/>
                    <a:pt x="361108" y="1005"/>
                    <a:pt x="362058" y="5123"/>
                  </a:cubicBezTo>
                  <a:cubicBezTo>
                    <a:pt x="364276" y="14945"/>
                    <a:pt x="323091" y="29201"/>
                    <a:pt x="267649" y="65317"/>
                  </a:cubicBezTo>
                  <a:cubicBezTo>
                    <a:pt x="212207" y="100800"/>
                    <a:pt x="142826" y="163212"/>
                    <a:pt x="100057" y="251918"/>
                  </a:cubicBezTo>
                  <a:cubicBezTo>
                    <a:pt x="57921" y="340942"/>
                    <a:pt x="53169" y="434084"/>
                    <a:pt x="60456" y="499347"/>
                  </a:cubicBezTo>
                  <a:cubicBezTo>
                    <a:pt x="67109" y="565243"/>
                    <a:pt x="81999" y="606112"/>
                    <a:pt x="73128" y="610547"/>
                  </a:cubicBezTo>
                  <a:cubicBezTo>
                    <a:pt x="69326" y="612448"/>
                    <a:pt x="60139" y="604844"/>
                    <a:pt x="48734" y="587737"/>
                  </a:cubicBezTo>
                  <a:cubicBezTo>
                    <a:pt x="37328" y="570629"/>
                    <a:pt x="24339" y="543700"/>
                    <a:pt x="14201" y="508217"/>
                  </a:cubicBezTo>
                  <a:cubicBezTo>
                    <a:pt x="4063" y="472735"/>
                    <a:pt x="-1956" y="428381"/>
                    <a:pt x="579" y="378959"/>
                  </a:cubicBezTo>
                  <a:cubicBezTo>
                    <a:pt x="3113" y="329537"/>
                    <a:pt x="15469" y="275362"/>
                    <a:pt x="39863" y="223089"/>
                  </a:cubicBezTo>
                </a:path>
              </a:pathLst>
            </a:custGeom>
            <a:solidFill>
              <a:srgbClr val="FFFFFF"/>
            </a:solidFill>
            <a:ln w="316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xmlns="" id="{C505CA49-454E-45AE-9783-056F6F18553E}"/>
                </a:ext>
              </a:extLst>
            </p:cNvPr>
            <p:cNvSpPr/>
            <p:nvPr/>
          </p:nvSpPr>
          <p:spPr>
            <a:xfrm>
              <a:off x="9667787" y="836424"/>
              <a:ext cx="136636" cy="66544"/>
            </a:xfrm>
            <a:custGeom>
              <a:avLst/>
              <a:gdLst>
                <a:gd name="connsiteX0" fmla="*/ 67957 w 136636"/>
                <a:gd name="connsiteY0" fmla="*/ 66544 h 66544"/>
                <a:gd name="connsiteX1" fmla="*/ 159 w 136636"/>
                <a:gd name="connsiteY1" fmla="*/ 38031 h 66544"/>
                <a:gd name="connsiteX2" fmla="*/ 17584 w 136636"/>
                <a:gd name="connsiteY2" fmla="*/ 12053 h 66544"/>
                <a:gd name="connsiteX3" fmla="*/ 68907 w 136636"/>
                <a:gd name="connsiteY3" fmla="*/ 14 h 66544"/>
                <a:gd name="connsiteX4" fmla="*/ 119597 w 136636"/>
                <a:gd name="connsiteY4" fmla="*/ 13637 h 66544"/>
                <a:gd name="connsiteX5" fmla="*/ 136388 w 136636"/>
                <a:gd name="connsiteY5" fmla="*/ 39932 h 66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6636" h="66544">
                  <a:moveTo>
                    <a:pt x="67957" y="66544"/>
                  </a:moveTo>
                  <a:cubicBezTo>
                    <a:pt x="33741" y="65910"/>
                    <a:pt x="3644" y="56406"/>
                    <a:pt x="159" y="38031"/>
                  </a:cubicBezTo>
                  <a:cubicBezTo>
                    <a:pt x="-1108" y="29161"/>
                    <a:pt x="5228" y="19656"/>
                    <a:pt x="17584" y="12053"/>
                  </a:cubicBezTo>
                  <a:cubicBezTo>
                    <a:pt x="29939" y="4766"/>
                    <a:pt x="48314" y="-303"/>
                    <a:pt x="68907" y="14"/>
                  </a:cubicBezTo>
                  <a:cubicBezTo>
                    <a:pt x="89500" y="331"/>
                    <a:pt x="107558" y="5717"/>
                    <a:pt x="119597" y="13637"/>
                  </a:cubicBezTo>
                  <a:cubicBezTo>
                    <a:pt x="131952" y="21240"/>
                    <a:pt x="137972" y="31061"/>
                    <a:pt x="136388" y="39932"/>
                  </a:cubicBezTo>
                </a:path>
              </a:pathLst>
            </a:custGeom>
            <a:solidFill>
              <a:srgbClr val="FFFFFF"/>
            </a:solidFill>
            <a:ln w="316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xmlns="" id="{1BB4DC8D-B355-40BC-896E-8B7B9B3440F6}"/>
                </a:ext>
              </a:extLst>
            </p:cNvPr>
            <p:cNvSpPr/>
            <p:nvPr/>
          </p:nvSpPr>
          <p:spPr>
            <a:xfrm>
              <a:off x="9633090" y="2213914"/>
              <a:ext cx="192635" cy="28641"/>
            </a:xfrm>
            <a:custGeom>
              <a:avLst/>
              <a:gdLst>
                <a:gd name="connsiteX0" fmla="*/ 192628 w 192635"/>
                <a:gd name="connsiteY0" fmla="*/ 25041 h 28641"/>
                <a:gd name="connsiteX1" fmla="*/ 164749 w 192635"/>
                <a:gd name="connsiteY1" fmla="*/ 16171 h 28641"/>
                <a:gd name="connsiteX2" fmla="*/ 96001 w 192635"/>
                <a:gd name="connsiteY2" fmla="*/ 6666 h 28641"/>
                <a:gd name="connsiteX3" fmla="*/ 27570 w 192635"/>
                <a:gd name="connsiteY3" fmla="*/ 18705 h 28641"/>
                <a:gd name="connsiteX4" fmla="*/ 8 w 192635"/>
                <a:gd name="connsiteY4" fmla="*/ 28526 h 28641"/>
                <a:gd name="connsiteX5" fmla="*/ 25986 w 192635"/>
                <a:gd name="connsiteY5" fmla="*/ 14270 h 28641"/>
                <a:gd name="connsiteX6" fmla="*/ 96001 w 192635"/>
                <a:gd name="connsiteY6" fmla="*/ 13 h 28641"/>
                <a:gd name="connsiteX7" fmla="*/ 166333 w 192635"/>
                <a:gd name="connsiteY7" fmla="*/ 11735 h 28641"/>
                <a:gd name="connsiteX8" fmla="*/ 192628 w 192635"/>
                <a:gd name="connsiteY8" fmla="*/ 25041 h 28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2635" h="28641">
                  <a:moveTo>
                    <a:pt x="192628" y="25041"/>
                  </a:moveTo>
                  <a:cubicBezTo>
                    <a:pt x="191995" y="25992"/>
                    <a:pt x="181857" y="21240"/>
                    <a:pt x="164749" y="16171"/>
                  </a:cubicBezTo>
                  <a:cubicBezTo>
                    <a:pt x="147641" y="11102"/>
                    <a:pt x="123247" y="6349"/>
                    <a:pt x="96001" y="6666"/>
                  </a:cubicBezTo>
                  <a:cubicBezTo>
                    <a:pt x="68756" y="7300"/>
                    <a:pt x="44361" y="12686"/>
                    <a:pt x="27570" y="18705"/>
                  </a:cubicBezTo>
                  <a:cubicBezTo>
                    <a:pt x="10463" y="24408"/>
                    <a:pt x="642" y="29477"/>
                    <a:pt x="8" y="28526"/>
                  </a:cubicBezTo>
                  <a:cubicBezTo>
                    <a:pt x="-309" y="27892"/>
                    <a:pt x="8879" y="21240"/>
                    <a:pt x="25986" y="14270"/>
                  </a:cubicBezTo>
                  <a:cubicBezTo>
                    <a:pt x="42777" y="7300"/>
                    <a:pt x="67805" y="647"/>
                    <a:pt x="96001" y="13"/>
                  </a:cubicBezTo>
                  <a:cubicBezTo>
                    <a:pt x="124197" y="-304"/>
                    <a:pt x="149225" y="5082"/>
                    <a:pt x="166333" y="11735"/>
                  </a:cubicBezTo>
                  <a:cubicBezTo>
                    <a:pt x="183441" y="18071"/>
                    <a:pt x="192945" y="24408"/>
                    <a:pt x="192628" y="25041"/>
                  </a:cubicBezTo>
                  <a:close/>
                </a:path>
              </a:pathLst>
            </a:custGeom>
            <a:solidFill>
              <a:srgbClr val="455A64"/>
            </a:solidFill>
            <a:ln w="316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xmlns="" id="{4168728E-9E11-4171-8600-C83D089D597F}"/>
                </a:ext>
              </a:extLst>
            </p:cNvPr>
            <p:cNvSpPr/>
            <p:nvPr/>
          </p:nvSpPr>
          <p:spPr>
            <a:xfrm>
              <a:off x="9564667" y="2113695"/>
              <a:ext cx="328214" cy="7526"/>
            </a:xfrm>
            <a:custGeom>
              <a:avLst/>
              <a:gdLst>
                <a:gd name="connsiteX0" fmla="*/ 328215 w 328214"/>
                <a:gd name="connsiteY0" fmla="*/ 5506 h 7526"/>
                <a:gd name="connsiteX1" fmla="*/ 164107 w 328214"/>
                <a:gd name="connsiteY1" fmla="*/ 7090 h 7526"/>
                <a:gd name="connsiteX2" fmla="*/ 0 w 328214"/>
                <a:gd name="connsiteY2" fmla="*/ 2021 h 7526"/>
                <a:gd name="connsiteX3" fmla="*/ 164107 w 328214"/>
                <a:gd name="connsiteY3" fmla="*/ 437 h 7526"/>
                <a:gd name="connsiteX4" fmla="*/ 328215 w 328214"/>
                <a:gd name="connsiteY4" fmla="*/ 5506 h 75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8214" h="7526">
                  <a:moveTo>
                    <a:pt x="328215" y="5506"/>
                  </a:moveTo>
                  <a:cubicBezTo>
                    <a:pt x="328215" y="7406"/>
                    <a:pt x="254715" y="8040"/>
                    <a:pt x="164107" y="7090"/>
                  </a:cubicBezTo>
                  <a:cubicBezTo>
                    <a:pt x="73500" y="6139"/>
                    <a:pt x="0" y="3922"/>
                    <a:pt x="0" y="2021"/>
                  </a:cubicBezTo>
                  <a:cubicBezTo>
                    <a:pt x="0" y="120"/>
                    <a:pt x="73500" y="-514"/>
                    <a:pt x="164107" y="437"/>
                  </a:cubicBezTo>
                  <a:cubicBezTo>
                    <a:pt x="255032" y="1387"/>
                    <a:pt x="328215" y="3605"/>
                    <a:pt x="328215" y="5506"/>
                  </a:cubicBezTo>
                  <a:close/>
                </a:path>
              </a:pathLst>
            </a:custGeom>
            <a:solidFill>
              <a:srgbClr val="455A64"/>
            </a:solidFill>
            <a:ln w="316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xmlns="" id="{A2312521-3E67-4FE3-9752-16AED11E2023}"/>
                </a:ext>
              </a:extLst>
            </p:cNvPr>
            <p:cNvSpPr/>
            <p:nvPr/>
          </p:nvSpPr>
          <p:spPr>
            <a:xfrm>
              <a:off x="9592863" y="2166089"/>
              <a:ext cx="274040" cy="7286"/>
            </a:xfrm>
            <a:custGeom>
              <a:avLst/>
              <a:gdLst>
                <a:gd name="connsiteX0" fmla="*/ 274040 w 274040"/>
                <a:gd name="connsiteY0" fmla="*/ 950 h 7286"/>
                <a:gd name="connsiteX1" fmla="*/ 234122 w 274040"/>
                <a:gd name="connsiteY1" fmla="*/ 4752 h 7286"/>
                <a:gd name="connsiteX2" fmla="*/ 137179 w 274040"/>
                <a:gd name="connsiteY2" fmla="*/ 7287 h 7286"/>
                <a:gd name="connsiteX3" fmla="*/ 40235 w 274040"/>
                <a:gd name="connsiteY3" fmla="*/ 5386 h 7286"/>
                <a:gd name="connsiteX4" fmla="*/ 0 w 274040"/>
                <a:gd name="connsiteY4" fmla="*/ 1901 h 7286"/>
                <a:gd name="connsiteX5" fmla="*/ 40235 w 274040"/>
                <a:gd name="connsiteY5" fmla="*/ 634 h 7286"/>
                <a:gd name="connsiteX6" fmla="*/ 137179 w 274040"/>
                <a:gd name="connsiteY6" fmla="*/ 634 h 7286"/>
                <a:gd name="connsiteX7" fmla="*/ 234122 w 274040"/>
                <a:gd name="connsiteY7" fmla="*/ 0 h 7286"/>
                <a:gd name="connsiteX8" fmla="*/ 274040 w 274040"/>
                <a:gd name="connsiteY8" fmla="*/ 950 h 7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4040" h="7286">
                  <a:moveTo>
                    <a:pt x="274040" y="950"/>
                  </a:moveTo>
                  <a:cubicBezTo>
                    <a:pt x="274040" y="1901"/>
                    <a:pt x="258834" y="3168"/>
                    <a:pt x="234122" y="4752"/>
                  </a:cubicBezTo>
                  <a:cubicBezTo>
                    <a:pt x="209411" y="6019"/>
                    <a:pt x="174879" y="6970"/>
                    <a:pt x="137179" y="7287"/>
                  </a:cubicBezTo>
                  <a:cubicBezTo>
                    <a:pt x="99161" y="7287"/>
                    <a:pt x="64946" y="6653"/>
                    <a:pt x="40235" y="5386"/>
                  </a:cubicBezTo>
                  <a:cubicBezTo>
                    <a:pt x="15524" y="4119"/>
                    <a:pt x="0" y="2851"/>
                    <a:pt x="0" y="1901"/>
                  </a:cubicBezTo>
                  <a:cubicBezTo>
                    <a:pt x="0" y="950"/>
                    <a:pt x="15524" y="634"/>
                    <a:pt x="40235" y="634"/>
                  </a:cubicBezTo>
                  <a:cubicBezTo>
                    <a:pt x="67164" y="634"/>
                    <a:pt x="100429" y="634"/>
                    <a:pt x="137179" y="634"/>
                  </a:cubicBezTo>
                  <a:cubicBezTo>
                    <a:pt x="173929" y="317"/>
                    <a:pt x="207194" y="317"/>
                    <a:pt x="234122" y="0"/>
                  </a:cubicBezTo>
                  <a:cubicBezTo>
                    <a:pt x="258834" y="0"/>
                    <a:pt x="274040" y="0"/>
                    <a:pt x="274040" y="950"/>
                  </a:cubicBezTo>
                  <a:close/>
                </a:path>
              </a:pathLst>
            </a:custGeom>
            <a:solidFill>
              <a:srgbClr val="455A64"/>
            </a:solidFill>
            <a:ln w="316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07" name="Freeform: Shape 106">
            <a:extLst>
              <a:ext uri="{FF2B5EF4-FFF2-40B4-BE49-F238E27FC236}">
                <a16:creationId xmlns:a16="http://schemas.microsoft.com/office/drawing/2014/main" xmlns="" id="{267BA821-81B2-43DC-B3E5-7CC1D7E8358C}"/>
              </a:ext>
            </a:extLst>
          </p:cNvPr>
          <p:cNvSpPr/>
          <p:nvPr/>
        </p:nvSpPr>
        <p:spPr>
          <a:xfrm>
            <a:off x="10176586" y="2412701"/>
            <a:ext cx="292126" cy="292400"/>
          </a:xfrm>
          <a:custGeom>
            <a:avLst/>
            <a:gdLst>
              <a:gd name="connsiteX0" fmla="*/ 51149 w 102203"/>
              <a:gd name="connsiteY0" fmla="*/ 0 h 102298"/>
              <a:gd name="connsiteX1" fmla="*/ 69152 w 102203"/>
              <a:gd name="connsiteY1" fmla="*/ 33052 h 102298"/>
              <a:gd name="connsiteX2" fmla="*/ 102203 w 102203"/>
              <a:gd name="connsiteY2" fmla="*/ 51149 h 102298"/>
              <a:gd name="connsiteX3" fmla="*/ 69152 w 102203"/>
              <a:gd name="connsiteY3" fmla="*/ 69247 h 102298"/>
              <a:gd name="connsiteX4" fmla="*/ 51149 w 102203"/>
              <a:gd name="connsiteY4" fmla="*/ 102299 h 102298"/>
              <a:gd name="connsiteX5" fmla="*/ 33052 w 102203"/>
              <a:gd name="connsiteY5" fmla="*/ 69247 h 102298"/>
              <a:gd name="connsiteX6" fmla="*/ 0 w 102203"/>
              <a:gd name="connsiteY6" fmla="*/ 51149 h 102298"/>
              <a:gd name="connsiteX7" fmla="*/ 33052 w 102203"/>
              <a:gd name="connsiteY7" fmla="*/ 33052 h 1022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2203" h="102298">
                <a:moveTo>
                  <a:pt x="51149" y="0"/>
                </a:moveTo>
                <a:lnTo>
                  <a:pt x="69152" y="33052"/>
                </a:lnTo>
                <a:lnTo>
                  <a:pt x="102203" y="51149"/>
                </a:lnTo>
                <a:lnTo>
                  <a:pt x="69152" y="69247"/>
                </a:lnTo>
                <a:lnTo>
                  <a:pt x="51149" y="102299"/>
                </a:lnTo>
                <a:lnTo>
                  <a:pt x="33052" y="69247"/>
                </a:lnTo>
                <a:lnTo>
                  <a:pt x="0" y="51149"/>
                </a:lnTo>
                <a:lnTo>
                  <a:pt x="33052" y="33052"/>
                </a:lnTo>
                <a:close/>
              </a:path>
            </a:pathLst>
          </a:custGeom>
          <a:solidFill>
            <a:srgbClr val="26323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08" name="Freeform: Shape 107">
            <a:extLst>
              <a:ext uri="{FF2B5EF4-FFF2-40B4-BE49-F238E27FC236}">
                <a16:creationId xmlns:a16="http://schemas.microsoft.com/office/drawing/2014/main" xmlns="" id="{2646DAD3-A8E7-4905-8032-29ACB4E30BCD}"/>
              </a:ext>
            </a:extLst>
          </p:cNvPr>
          <p:cNvSpPr/>
          <p:nvPr/>
        </p:nvSpPr>
        <p:spPr>
          <a:xfrm>
            <a:off x="10861059" y="2245898"/>
            <a:ext cx="130947" cy="131087"/>
          </a:xfrm>
          <a:custGeom>
            <a:avLst/>
            <a:gdLst>
              <a:gd name="connsiteX0" fmla="*/ 0 w 89439"/>
              <a:gd name="connsiteY0" fmla="*/ 45720 h 89534"/>
              <a:gd name="connsiteX1" fmla="*/ 28575 w 89439"/>
              <a:gd name="connsiteY1" fmla="*/ 29242 h 89534"/>
              <a:gd name="connsiteX2" fmla="*/ 43720 w 89439"/>
              <a:gd name="connsiteY2" fmla="*/ 0 h 89534"/>
              <a:gd name="connsiteX3" fmla="*/ 60198 w 89439"/>
              <a:gd name="connsiteY3" fmla="*/ 28575 h 89534"/>
              <a:gd name="connsiteX4" fmla="*/ 89440 w 89439"/>
              <a:gd name="connsiteY4" fmla="*/ 43815 h 89534"/>
              <a:gd name="connsiteX5" fmla="*/ 60865 w 89439"/>
              <a:gd name="connsiteY5" fmla="*/ 60198 h 89534"/>
              <a:gd name="connsiteX6" fmla="*/ 45720 w 89439"/>
              <a:gd name="connsiteY6" fmla="*/ 89535 h 89534"/>
              <a:gd name="connsiteX7" fmla="*/ 29242 w 89439"/>
              <a:gd name="connsiteY7" fmla="*/ 60960 h 895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9439" h="89534">
                <a:moveTo>
                  <a:pt x="0" y="45720"/>
                </a:moveTo>
                <a:lnTo>
                  <a:pt x="28575" y="29242"/>
                </a:lnTo>
                <a:lnTo>
                  <a:pt x="43720" y="0"/>
                </a:lnTo>
                <a:lnTo>
                  <a:pt x="60198" y="28575"/>
                </a:lnTo>
                <a:lnTo>
                  <a:pt x="89440" y="43815"/>
                </a:lnTo>
                <a:lnTo>
                  <a:pt x="60865" y="60198"/>
                </a:lnTo>
                <a:lnTo>
                  <a:pt x="45720" y="89535"/>
                </a:lnTo>
                <a:lnTo>
                  <a:pt x="29242" y="60960"/>
                </a:lnTo>
                <a:close/>
              </a:path>
            </a:pathLst>
          </a:custGeom>
          <a:solidFill>
            <a:srgbClr val="26323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09" name="Freeform: Shape 108">
            <a:extLst>
              <a:ext uri="{FF2B5EF4-FFF2-40B4-BE49-F238E27FC236}">
                <a16:creationId xmlns:a16="http://schemas.microsoft.com/office/drawing/2014/main" xmlns="" id="{E3C4D41E-8CBE-4E17-8EE6-3FE97BC4B60C}"/>
              </a:ext>
            </a:extLst>
          </p:cNvPr>
          <p:cNvSpPr/>
          <p:nvPr/>
        </p:nvSpPr>
        <p:spPr>
          <a:xfrm>
            <a:off x="10001640" y="1492207"/>
            <a:ext cx="119043" cy="119170"/>
          </a:xfrm>
          <a:custGeom>
            <a:avLst/>
            <a:gdLst>
              <a:gd name="connsiteX0" fmla="*/ 0 w 89439"/>
              <a:gd name="connsiteY0" fmla="*/ 45720 h 89534"/>
              <a:gd name="connsiteX1" fmla="*/ 28575 w 89439"/>
              <a:gd name="connsiteY1" fmla="*/ 29242 h 89534"/>
              <a:gd name="connsiteX2" fmla="*/ 43720 w 89439"/>
              <a:gd name="connsiteY2" fmla="*/ 0 h 89534"/>
              <a:gd name="connsiteX3" fmla="*/ 60198 w 89439"/>
              <a:gd name="connsiteY3" fmla="*/ 28575 h 89534"/>
              <a:gd name="connsiteX4" fmla="*/ 89440 w 89439"/>
              <a:gd name="connsiteY4" fmla="*/ 43815 h 89534"/>
              <a:gd name="connsiteX5" fmla="*/ 60865 w 89439"/>
              <a:gd name="connsiteY5" fmla="*/ 60198 h 89534"/>
              <a:gd name="connsiteX6" fmla="*/ 45720 w 89439"/>
              <a:gd name="connsiteY6" fmla="*/ 89535 h 89534"/>
              <a:gd name="connsiteX7" fmla="*/ 29242 w 89439"/>
              <a:gd name="connsiteY7" fmla="*/ 60960 h 895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9439" h="89534">
                <a:moveTo>
                  <a:pt x="0" y="45720"/>
                </a:moveTo>
                <a:lnTo>
                  <a:pt x="28575" y="29242"/>
                </a:lnTo>
                <a:lnTo>
                  <a:pt x="43720" y="0"/>
                </a:lnTo>
                <a:lnTo>
                  <a:pt x="60198" y="28575"/>
                </a:lnTo>
                <a:lnTo>
                  <a:pt x="89440" y="43815"/>
                </a:lnTo>
                <a:lnTo>
                  <a:pt x="60865" y="60198"/>
                </a:lnTo>
                <a:lnTo>
                  <a:pt x="45720" y="89535"/>
                </a:lnTo>
                <a:lnTo>
                  <a:pt x="29242" y="60960"/>
                </a:lnTo>
                <a:close/>
              </a:path>
            </a:pathLst>
          </a:custGeom>
          <a:solidFill>
            <a:srgbClr val="26323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10" name="Freeform: Shape 109">
            <a:extLst>
              <a:ext uri="{FF2B5EF4-FFF2-40B4-BE49-F238E27FC236}">
                <a16:creationId xmlns:a16="http://schemas.microsoft.com/office/drawing/2014/main" xmlns="" id="{8BCE91AF-D211-4DCC-8077-224D7A441A2D}"/>
              </a:ext>
            </a:extLst>
          </p:cNvPr>
          <p:cNvSpPr/>
          <p:nvPr/>
        </p:nvSpPr>
        <p:spPr>
          <a:xfrm>
            <a:off x="11175093" y="1054101"/>
            <a:ext cx="175770" cy="175932"/>
          </a:xfrm>
          <a:custGeom>
            <a:avLst/>
            <a:gdLst>
              <a:gd name="connsiteX0" fmla="*/ 51149 w 102203"/>
              <a:gd name="connsiteY0" fmla="*/ 0 h 102298"/>
              <a:gd name="connsiteX1" fmla="*/ 69152 w 102203"/>
              <a:gd name="connsiteY1" fmla="*/ 33052 h 102298"/>
              <a:gd name="connsiteX2" fmla="*/ 102203 w 102203"/>
              <a:gd name="connsiteY2" fmla="*/ 51149 h 102298"/>
              <a:gd name="connsiteX3" fmla="*/ 69152 w 102203"/>
              <a:gd name="connsiteY3" fmla="*/ 69247 h 102298"/>
              <a:gd name="connsiteX4" fmla="*/ 51149 w 102203"/>
              <a:gd name="connsiteY4" fmla="*/ 102299 h 102298"/>
              <a:gd name="connsiteX5" fmla="*/ 33052 w 102203"/>
              <a:gd name="connsiteY5" fmla="*/ 69247 h 102298"/>
              <a:gd name="connsiteX6" fmla="*/ 0 w 102203"/>
              <a:gd name="connsiteY6" fmla="*/ 51149 h 102298"/>
              <a:gd name="connsiteX7" fmla="*/ 33052 w 102203"/>
              <a:gd name="connsiteY7" fmla="*/ 33052 h 1022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2203" h="102298">
                <a:moveTo>
                  <a:pt x="51149" y="0"/>
                </a:moveTo>
                <a:lnTo>
                  <a:pt x="69152" y="33052"/>
                </a:lnTo>
                <a:lnTo>
                  <a:pt x="102203" y="51149"/>
                </a:lnTo>
                <a:lnTo>
                  <a:pt x="69152" y="69247"/>
                </a:lnTo>
                <a:lnTo>
                  <a:pt x="51149" y="102299"/>
                </a:lnTo>
                <a:lnTo>
                  <a:pt x="33052" y="69247"/>
                </a:lnTo>
                <a:lnTo>
                  <a:pt x="0" y="51149"/>
                </a:lnTo>
                <a:lnTo>
                  <a:pt x="33052" y="33052"/>
                </a:lnTo>
                <a:close/>
              </a:path>
            </a:pathLst>
          </a:custGeom>
          <a:solidFill>
            <a:srgbClr val="26323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11" name="Freeform: Shape 110">
            <a:extLst>
              <a:ext uri="{FF2B5EF4-FFF2-40B4-BE49-F238E27FC236}">
                <a16:creationId xmlns:a16="http://schemas.microsoft.com/office/drawing/2014/main" xmlns="" id="{A7718F2D-9F79-4BC0-9BFF-C81DF1B97C96}"/>
              </a:ext>
            </a:extLst>
          </p:cNvPr>
          <p:cNvSpPr/>
          <p:nvPr/>
        </p:nvSpPr>
        <p:spPr>
          <a:xfrm>
            <a:off x="9485736" y="983928"/>
            <a:ext cx="315984" cy="316279"/>
          </a:xfrm>
          <a:custGeom>
            <a:avLst/>
            <a:gdLst>
              <a:gd name="connsiteX0" fmla="*/ 51149 w 102203"/>
              <a:gd name="connsiteY0" fmla="*/ 0 h 102298"/>
              <a:gd name="connsiteX1" fmla="*/ 69152 w 102203"/>
              <a:gd name="connsiteY1" fmla="*/ 33052 h 102298"/>
              <a:gd name="connsiteX2" fmla="*/ 102203 w 102203"/>
              <a:gd name="connsiteY2" fmla="*/ 51149 h 102298"/>
              <a:gd name="connsiteX3" fmla="*/ 69152 w 102203"/>
              <a:gd name="connsiteY3" fmla="*/ 69247 h 102298"/>
              <a:gd name="connsiteX4" fmla="*/ 51149 w 102203"/>
              <a:gd name="connsiteY4" fmla="*/ 102299 h 102298"/>
              <a:gd name="connsiteX5" fmla="*/ 33052 w 102203"/>
              <a:gd name="connsiteY5" fmla="*/ 69247 h 102298"/>
              <a:gd name="connsiteX6" fmla="*/ 0 w 102203"/>
              <a:gd name="connsiteY6" fmla="*/ 51149 h 102298"/>
              <a:gd name="connsiteX7" fmla="*/ 33052 w 102203"/>
              <a:gd name="connsiteY7" fmla="*/ 33052 h 1022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2203" h="102298">
                <a:moveTo>
                  <a:pt x="51149" y="0"/>
                </a:moveTo>
                <a:lnTo>
                  <a:pt x="69152" y="33052"/>
                </a:lnTo>
                <a:lnTo>
                  <a:pt x="102203" y="51149"/>
                </a:lnTo>
                <a:lnTo>
                  <a:pt x="69152" y="69247"/>
                </a:lnTo>
                <a:lnTo>
                  <a:pt x="51149" y="102299"/>
                </a:lnTo>
                <a:lnTo>
                  <a:pt x="33052" y="69247"/>
                </a:lnTo>
                <a:lnTo>
                  <a:pt x="0" y="51149"/>
                </a:lnTo>
                <a:lnTo>
                  <a:pt x="33052" y="33052"/>
                </a:lnTo>
                <a:close/>
              </a:path>
            </a:pathLst>
          </a:custGeom>
          <a:solidFill>
            <a:srgbClr val="26323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805" y="2947437"/>
            <a:ext cx="2107638" cy="2037106"/>
          </a:xfrm>
          <a:prstGeom prst="rect">
            <a:avLst/>
          </a:prstGeom>
        </p:spPr>
      </p:pic>
      <p:pic>
        <p:nvPicPr>
          <p:cNvPr id="4098" name="Picture 2" descr="https://media-exp1.licdn.com/dms/image/C5603AQGfPgWfx_reIQ/profile-displayphoto-shrink_800_800/0/1584287609568?e=1669852800&amp;v=beta&amp;t=DfclZ8KdA3AEKszuhXhLgq4CFJ1oWNJ8dLNY9claGY0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42113" y="2947353"/>
            <a:ext cx="2087198" cy="20871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0" name="Picture 4" descr="https://media-exp1.licdn.com/dms/image/C4D03AQFAco4PobKaLQ/profile-displayphoto-shrink_800_800/0/1618326123719?e=1669852800&amp;v=beta&amp;t=731CDsMRHsB8q2MC7B1aK6J1rl9Nj1LGEW6r0GPFUaU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6197" y="2951273"/>
            <a:ext cx="2083278" cy="20832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2576655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3</TotalTime>
  <Words>439</Words>
  <Application>Microsoft Office PowerPoint</Application>
  <PresentationFormat>Widescreen</PresentationFormat>
  <Paragraphs>80</Paragraphs>
  <Slides>10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6" baseType="lpstr">
      <vt:lpstr>Arial</vt:lpstr>
      <vt:lpstr>Arial Black</vt:lpstr>
      <vt:lpstr>Calibri</vt:lpstr>
      <vt:lpstr>Calibri Light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crosoft account</dc:creator>
  <cp:lastModifiedBy>Microsoft account</cp:lastModifiedBy>
  <cp:revision>4</cp:revision>
  <dcterms:created xsi:type="dcterms:W3CDTF">2022-09-29T23:06:39Z</dcterms:created>
  <dcterms:modified xsi:type="dcterms:W3CDTF">2022-09-29T23:50:31Z</dcterms:modified>
</cp:coreProperties>
</file>